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2.xml" ContentType="application/vnd.openxmlformats-officedocument.theme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theme/theme3.xml" ContentType="application/vnd.openxmlformats-officedocument.theme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theme/theme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theme/theme5.xml" ContentType="application/vnd.openxmlformats-officedocument.theme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6.xml" ContentType="application/vnd.openxmlformats-officedocument.theme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theme/theme7.xml" ContentType="application/vnd.openxmlformats-officedocument.theme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theme/theme8.xml" ContentType="application/vnd.openxmlformats-officedocument.theme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2BC_8E5768E.xml" ContentType="application/vnd.ms-powerpoint.comments+xml"/>
  <Override PartName="/ppt/comments/modernComment_34B_8CDB37A9.xml" ContentType="application/vnd.ms-powerpoint.comments+xml"/>
  <Override PartName="/ppt/comments/modernComment_346_97A98764.xml" ContentType="application/vnd.ms-powerpoint.comments+xml"/>
  <Override PartName="/ppt/comments/modernComment_338_424D7366.xml" ContentType="application/vnd.ms-powerpoint.comments+xml"/>
  <Override PartName="/ppt/authors.xml" ContentType="application/vnd.ms-powerpoint.author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34" r:id="rId4"/>
    <p:sldMasterId id="2147488151" r:id="rId5"/>
    <p:sldMasterId id="2147483775" r:id="rId6"/>
    <p:sldMasterId id="2147484574" r:id="rId7"/>
    <p:sldMasterId id="2147488349" r:id="rId8"/>
    <p:sldMasterId id="2147484781" r:id="rId9"/>
    <p:sldMasterId id="2147487275" r:id="rId10"/>
    <p:sldMasterId id="2147485679" r:id="rId11"/>
    <p:sldMasterId id="2147488246" r:id="rId12"/>
  </p:sldMasterIdLst>
  <p:notesMasterIdLst>
    <p:notesMasterId r:id="rId59"/>
  </p:notesMasterIdLst>
  <p:sldIdLst>
    <p:sldId id="645" r:id="rId13"/>
    <p:sldId id="783" r:id="rId14"/>
    <p:sldId id="770" r:id="rId15"/>
    <p:sldId id="806" r:id="rId16"/>
    <p:sldId id="805" r:id="rId17"/>
    <p:sldId id="804" r:id="rId18"/>
    <p:sldId id="803" r:id="rId19"/>
    <p:sldId id="802" r:id="rId20"/>
    <p:sldId id="834" r:id="rId21"/>
    <p:sldId id="776" r:id="rId22"/>
    <p:sldId id="775" r:id="rId23"/>
    <p:sldId id="808" r:id="rId24"/>
    <p:sldId id="773" r:id="rId25"/>
    <p:sldId id="631" r:id="rId26"/>
    <p:sldId id="809" r:id="rId27"/>
    <p:sldId id="700" r:id="rId28"/>
    <p:sldId id="810" r:id="rId29"/>
    <p:sldId id="698" r:id="rId30"/>
    <p:sldId id="814" r:id="rId31"/>
    <p:sldId id="813" r:id="rId32"/>
    <p:sldId id="821" r:id="rId33"/>
    <p:sldId id="831" r:id="rId34"/>
    <p:sldId id="832" r:id="rId35"/>
    <p:sldId id="694" r:id="rId36"/>
    <p:sldId id="833" r:id="rId37"/>
    <p:sldId id="822" r:id="rId38"/>
    <p:sldId id="843" r:id="rId39"/>
    <p:sldId id="842" r:id="rId40"/>
    <p:sldId id="841" r:id="rId41"/>
    <p:sldId id="840" r:id="rId42"/>
    <p:sldId id="839" r:id="rId43"/>
    <p:sldId id="838" r:id="rId44"/>
    <p:sldId id="844" r:id="rId45"/>
    <p:sldId id="836" r:id="rId46"/>
    <p:sldId id="835" r:id="rId47"/>
    <p:sldId id="837" r:id="rId48"/>
    <p:sldId id="767" r:id="rId49"/>
    <p:sldId id="820" r:id="rId50"/>
    <p:sldId id="823" r:id="rId51"/>
    <p:sldId id="503" r:id="rId52"/>
    <p:sldId id="574" r:id="rId53"/>
    <p:sldId id="575" r:id="rId54"/>
    <p:sldId id="573" r:id="rId55"/>
    <p:sldId id="824" r:id="rId56"/>
    <p:sldId id="755" r:id="rId57"/>
    <p:sldId id="633" r:id="rId58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  <p188:author id="{866AA8C0-A40A-4549-B1BD-CB0F1B5845F6}" name="Ann Elizabeth Bryant Borders" initials="AB" userId="S::abr127@ads.northwestern.edu::965fb3da-aa86-42ca-92b3-900a66c4bd55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150"/>
    <a:srgbClr val="E31B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E58CCE-FCA0-14FA-0FA7-6494FA3162E1}" v="130" dt="2024-02-29T14:35:24.255"/>
    <p1510:client id="{14DE86C4-9039-3413-D28B-AEFF89318252}" v="155" dt="2024-02-29T01:03:09.281"/>
    <p1510:client id="{3008EADC-84DE-92C8-5D1B-D4E0A3B27EB6}" v="2" dt="2024-02-29T15:50:43.803"/>
    <p1510:client id="{36255672-5135-A51A-B9AE-00101A5956EF}" v="51" dt="2024-02-29T01:05:40.750"/>
    <p1510:client id="{5A64394E-2FA8-0BEC-0D5D-FBFEA1A6F0F8}" v="1" dt="2024-02-29T13:24:16.854"/>
    <p1510:client id="{5DC7D1E6-E55B-9B39-8A77-AF997EEF09CC}" v="1" dt="2024-02-28T16:59:30.669"/>
    <p1510:client id="{8F68FAA8-1955-9DF7-8ADC-676B77FF6F80}" v="13" dt="2024-02-27T19:22:21.108"/>
    <p1510:client id="{ABAFBFCF-45E7-8CF4-B285-FDD7DD5A77C1}" v="72" dt="2024-02-28T00:51:19.405"/>
    <p1510:client id="{DE72A1C5-A926-969B-60AE-E01185119D5E}" v="1" dt="2024-02-29T17:03:46.292"/>
    <p1510:client id="{EC7F6739-1EBE-3561-97B3-A8DFF5ED2968}" v="8" dt="2024-02-28T16:47:23.355"/>
    <p1510:client id="{FF988041-7F47-3776-5E0C-2946FD92D7C0}" v="19" dt="2024-02-29T13:31:59.51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7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microsoft.com/office/2018/10/relationships/authors" Target="authors.xml"/><Relationship Id="rId5" Type="http://schemas.openxmlformats.org/officeDocument/2006/relationships/slideMaster" Target="slideMasters/slideMaster2.xml"/><Relationship Id="rId61" Type="http://schemas.openxmlformats.org/officeDocument/2006/relationships/viewProps" Target="viewProp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presProps" Target="presProps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leen Fleming Suse" userId="S::efs3844@ads.northwestern.edu::725c94ef-d051-42d7-9d33-8572765d592b" providerId="AD" clId="Web-{7D968350-778B-8E17-0760-598295AE39FB}"/>
    <pc:docChg chg="addSld delSld modSld">
      <pc:chgData name="Eileen Fleming Suse" userId="S::efs3844@ads.northwestern.edu::725c94ef-d051-42d7-9d33-8572765d592b" providerId="AD" clId="Web-{7D968350-778B-8E17-0760-598295AE39FB}" dt="2023-03-07T16:21:48.190" v="76"/>
      <pc:docMkLst>
        <pc:docMk/>
      </pc:docMkLst>
      <pc:sldChg chg="add del">
        <pc:chgData name="Eileen Fleming Suse" userId="S::efs3844@ads.northwestern.edu::725c94ef-d051-42d7-9d33-8572765d592b" providerId="AD" clId="Web-{7D968350-778B-8E17-0760-598295AE39FB}" dt="2023-03-07T15:56:12.332" v="18"/>
        <pc:sldMkLst>
          <pc:docMk/>
          <pc:sldMk cId="1334474965" sldId="656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16.832" v="19"/>
        <pc:sldMkLst>
          <pc:docMk/>
          <pc:sldMk cId="2827188898" sldId="657"/>
        </pc:sldMkLst>
      </pc:sldChg>
      <pc:sldChg chg="modSp">
        <pc:chgData name="Eileen Fleming Suse" userId="S::efs3844@ads.northwestern.edu::725c94ef-d051-42d7-9d33-8572765d592b" providerId="AD" clId="Web-{7D968350-778B-8E17-0760-598295AE39FB}" dt="2023-03-07T16:21:48.190" v="76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7D968350-778B-8E17-0760-598295AE39FB}" dt="2023-03-07T16:21:48.190" v="76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7D968350-778B-8E17-0760-598295AE39FB}" dt="2023-03-07T16:21:13.033" v="71"/>
          <ac:graphicFrameMkLst>
            <pc:docMk/>
            <pc:sldMk cId="1618859033" sldId="693"/>
            <ac:graphicFrameMk id="6" creationId="{ABE664EC-DB8D-1736-BD6F-502306CFE78D}"/>
          </ac:graphicFrameMkLst>
        </pc:graphicFrameChg>
      </pc:sldChg>
      <pc:sldChg chg="addSp delSp modSp add del">
        <pc:chgData name="Eileen Fleming Suse" userId="S::efs3844@ads.northwestern.edu::725c94ef-d051-42d7-9d33-8572765d592b" providerId="AD" clId="Web-{7D968350-778B-8E17-0760-598295AE39FB}" dt="2023-03-07T16:03:04.213" v="47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7D968350-778B-8E17-0760-598295AE39FB}" dt="2023-03-07T16:03:04.213" v="47"/>
          <ac:spMkLst>
            <pc:docMk/>
            <pc:sldMk cId="2905881923" sldId="716"/>
            <ac:spMk id="2" creationId="{16817803-E785-34FC-07CE-0897747A5350}"/>
          </ac:spMkLst>
        </pc:spChg>
        <pc:spChg chg="mod">
          <ac:chgData name="Eileen Fleming Suse" userId="S::efs3844@ads.northwestern.edu::725c94ef-d051-42d7-9d33-8572765d592b" providerId="AD" clId="Web-{7D968350-778B-8E17-0760-598295AE39FB}" dt="2023-03-07T16:02:58.666" v="46" actId="20577"/>
          <ac:spMkLst>
            <pc:docMk/>
            <pc:sldMk cId="2905881923" sldId="716"/>
            <ac:spMk id="12" creationId="{264C5A32-C49E-EB9B-26E3-DEB2108A83B8}"/>
          </ac:spMkLst>
        </pc:spChg>
        <pc:picChg chg="add mod ord">
          <ac:chgData name="Eileen Fleming Suse" userId="S::efs3844@ads.northwestern.edu::725c94ef-d051-42d7-9d33-8572765d592b" providerId="AD" clId="Web-{7D968350-778B-8E17-0760-598295AE39FB}" dt="2023-03-07T16:00:47.383" v="37"/>
          <ac:picMkLst>
            <pc:docMk/>
            <pc:sldMk cId="2905881923" sldId="716"/>
            <ac:picMk id="3" creationId="{129C7F6C-95EE-B08B-2CF0-0603DC73B088}"/>
          </ac:picMkLst>
        </pc:picChg>
        <pc:picChg chg="del">
          <ac:chgData name="Eileen Fleming Suse" userId="S::efs3844@ads.northwestern.edu::725c94ef-d051-42d7-9d33-8572765d592b" providerId="AD" clId="Web-{7D968350-778B-8E17-0760-598295AE39FB}" dt="2023-03-07T16:00:34.664" v="32"/>
          <ac:picMkLst>
            <pc:docMk/>
            <pc:sldMk cId="2905881923" sldId="716"/>
            <ac:picMk id="6" creationId="{79EB24CE-2F86-22B6-8978-4B1CC440557E}"/>
          </ac:picMkLst>
        </pc:picChg>
        <pc:cxnChg chg="mod">
          <ac:chgData name="Eileen Fleming Suse" userId="S::efs3844@ads.northwestern.edu::725c94ef-d051-42d7-9d33-8572765d592b" providerId="AD" clId="Web-{7D968350-778B-8E17-0760-598295AE39FB}" dt="2023-03-07T16:00:52.742" v="38" actId="1076"/>
          <ac:cxnSpMkLst>
            <pc:docMk/>
            <pc:sldMk cId="2905881923" sldId="716"/>
            <ac:cxnSpMk id="7" creationId="{755E37EB-3D36-9482-9CA4-EBFB39C6A532}"/>
          </ac:cxnSpMkLst>
        </pc:cxnChg>
      </pc:sldChg>
      <pc:sldChg chg="add del">
        <pc:chgData name="Eileen Fleming Suse" userId="S::efs3844@ads.northwestern.edu::725c94ef-d051-42d7-9d33-8572765d592b" providerId="AD" clId="Web-{7D968350-778B-8E17-0760-598295AE39FB}" dt="2023-03-07T15:56:05.347" v="17"/>
        <pc:sldMkLst>
          <pc:docMk/>
          <pc:sldMk cId="590066452" sldId="742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94" v="31"/>
        <pc:sldMkLst>
          <pc:docMk/>
          <pc:sldMk cId="977535757" sldId="743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79" v="30"/>
        <pc:sldMkLst>
          <pc:docMk/>
          <pc:sldMk cId="2141283372" sldId="744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79" v="29"/>
        <pc:sldMkLst>
          <pc:docMk/>
          <pc:sldMk cId="3088142218" sldId="745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79" v="28"/>
        <pc:sldMkLst>
          <pc:docMk/>
          <pc:sldMk cId="2833465787" sldId="746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47" v="27"/>
        <pc:sldMkLst>
          <pc:docMk/>
          <pc:sldMk cId="339239438" sldId="747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47" v="26"/>
        <pc:sldMkLst>
          <pc:docMk/>
          <pc:sldMk cId="3385345214" sldId="748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32" v="25"/>
        <pc:sldMkLst>
          <pc:docMk/>
          <pc:sldMk cId="413908901" sldId="749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32" v="24"/>
        <pc:sldMkLst>
          <pc:docMk/>
          <pc:sldMk cId="1989278142" sldId="750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16" v="23"/>
        <pc:sldMkLst>
          <pc:docMk/>
          <pc:sldMk cId="3500209788" sldId="751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16" v="22"/>
        <pc:sldMkLst>
          <pc:docMk/>
          <pc:sldMk cId="1220123242" sldId="752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16" v="21"/>
        <pc:sldMkLst>
          <pc:docMk/>
          <pc:sldMk cId="2483046257" sldId="753"/>
        </pc:sldMkLst>
      </pc:sldChg>
      <pc:sldChg chg="add del">
        <pc:chgData name="Eileen Fleming Suse" userId="S::efs3844@ads.northwestern.edu::725c94ef-d051-42d7-9d33-8572765d592b" providerId="AD" clId="Web-{7D968350-778B-8E17-0760-598295AE39FB}" dt="2023-03-07T15:56:23.801" v="20"/>
        <pc:sldMkLst>
          <pc:docMk/>
          <pc:sldMk cId="1486954592" sldId="754"/>
        </pc:sldMkLst>
      </pc:sldChg>
    </pc:docChg>
  </pc:docChgLst>
  <pc:docChgLst>
    <pc:chgData name="Aleena Lida Surenian" userId="S::als0813@ads.northwestern.edu::e2fd0e4e-6417-49b0-ab16-0ba26a1719f0" providerId="AD" clId="Web-{281A8449-BEF3-450F-952B-D336CE2E123C}"/>
    <pc:docChg chg="mod">
      <pc:chgData name="Aleena Lida Surenian" userId="S::als0813@ads.northwestern.edu::e2fd0e4e-6417-49b0-ab16-0ba26a1719f0" providerId="AD" clId="Web-{281A8449-BEF3-450F-952B-D336CE2E123C}" dt="2023-02-08T19:52:54.502" v="1"/>
      <pc:docMkLst>
        <pc:docMk/>
      </pc:docMkLst>
      <pc:sldChg chg="addCm">
        <pc:chgData name="Aleena Lida Surenian" userId="S::als0813@ads.northwestern.edu::e2fd0e4e-6417-49b0-ab16-0ba26a1719f0" providerId="AD" clId="Web-{281A8449-BEF3-450F-952B-D336CE2E123C}" dt="2023-02-08T19:52:54.502" v="1"/>
        <pc:sldMkLst>
          <pc:docMk/>
          <pc:sldMk cId="872415970" sldId="69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eena Lida Surenian" userId="S::als0813@ads.northwestern.edu::e2fd0e4e-6417-49b0-ab16-0ba26a1719f0" providerId="AD" clId="Web-{281A8449-BEF3-450F-952B-D336CE2E123C}" dt="2023-02-08T19:52:54.502" v="1"/>
              <pc2:cmMkLst xmlns:pc2="http://schemas.microsoft.com/office/powerpoint/2019/9/main/command">
                <pc:docMk/>
                <pc:sldMk cId="872415970" sldId="697"/>
                <pc2:cmMk id="{A91608B9-6606-4ED6-B04E-01B758539162}"/>
              </pc2:cmMkLst>
            </pc226:cmChg>
          </p:ext>
        </pc:extLst>
      </pc:sldChg>
    </pc:docChg>
  </pc:docChgLst>
  <pc:docChgLst>
    <pc:chgData name="Patricia Ann Lee King" userId="S::pal094@ads.northwestern.edu::dbab7ec2-5444-4d21-afe7-a39974533ddc" providerId="AD" clId="Web-{92082E4D-8515-AA64-9AD0-FB204650FF57}"/>
    <pc:docChg chg="addSld delSld modSld">
      <pc:chgData name="Patricia Ann Lee King" userId="S::pal094@ads.northwestern.edu::dbab7ec2-5444-4d21-afe7-a39974533ddc" providerId="AD" clId="Web-{92082E4D-8515-AA64-9AD0-FB204650FF57}" dt="2023-01-20T18:57:20.906" v="6"/>
      <pc:docMkLst>
        <pc:docMk/>
      </pc:docMkLst>
      <pc:sldChg chg="addSp">
        <pc:chgData name="Patricia Ann Lee King" userId="S::pal094@ads.northwestern.edu::dbab7ec2-5444-4d21-afe7-a39974533ddc" providerId="AD" clId="Web-{92082E4D-8515-AA64-9AD0-FB204650FF57}" dt="2023-01-20T18:56:57.124" v="4"/>
        <pc:sldMkLst>
          <pc:docMk/>
          <pc:sldMk cId="1906776872" sldId="674"/>
        </pc:sldMkLst>
        <pc:spChg chg="add">
          <ac:chgData name="Patricia Ann Lee King" userId="S::pal094@ads.northwestern.edu::dbab7ec2-5444-4d21-afe7-a39974533ddc" providerId="AD" clId="Web-{92082E4D-8515-AA64-9AD0-FB204650FF57}" dt="2023-01-20T18:56:57.124" v="4"/>
          <ac:spMkLst>
            <pc:docMk/>
            <pc:sldMk cId="1906776872" sldId="674"/>
            <ac:spMk id="3" creationId="{64AB7873-8E9D-E04E-1981-A3CA1920E5D4}"/>
          </ac:spMkLst>
        </pc:spChg>
      </pc:sldChg>
      <pc:sldChg chg="del">
        <pc:chgData name="Patricia Ann Lee King" userId="S::pal094@ads.northwestern.edu::dbab7ec2-5444-4d21-afe7-a39974533ddc" providerId="AD" clId="Web-{92082E4D-8515-AA64-9AD0-FB204650FF57}" dt="2023-01-20T18:55:46.123" v="0"/>
        <pc:sldMkLst>
          <pc:docMk/>
          <pc:sldMk cId="738184023" sldId="677"/>
        </pc:sldMkLst>
      </pc:sldChg>
      <pc:sldChg chg="addSp">
        <pc:chgData name="Patricia Ann Lee King" userId="S::pal094@ads.northwestern.edu::dbab7ec2-5444-4d21-afe7-a39974533ddc" providerId="AD" clId="Web-{92082E4D-8515-AA64-9AD0-FB204650FF57}" dt="2023-01-20T18:55:54.279" v="1"/>
        <pc:sldMkLst>
          <pc:docMk/>
          <pc:sldMk cId="2445583017" sldId="680"/>
        </pc:sldMkLst>
        <pc:spChg chg="add">
          <ac:chgData name="Patricia Ann Lee King" userId="S::pal094@ads.northwestern.edu::dbab7ec2-5444-4d21-afe7-a39974533ddc" providerId="AD" clId="Web-{92082E4D-8515-AA64-9AD0-FB204650FF57}" dt="2023-01-20T18:55:54.279" v="1"/>
          <ac:spMkLst>
            <pc:docMk/>
            <pc:sldMk cId="2445583017" sldId="680"/>
            <ac:spMk id="6" creationId="{90A96859-33A7-86E7-3452-63F8617B20DF}"/>
          </ac:spMkLst>
        </pc:spChg>
      </pc:sldChg>
      <pc:sldChg chg="add">
        <pc:chgData name="Patricia Ann Lee King" userId="S::pal094@ads.northwestern.edu::dbab7ec2-5444-4d21-afe7-a39974533ddc" providerId="AD" clId="Web-{92082E4D-8515-AA64-9AD0-FB204650FF57}" dt="2023-01-20T18:56:05.217" v="2"/>
        <pc:sldMkLst>
          <pc:docMk/>
          <pc:sldMk cId="651998752" sldId="683"/>
        </pc:sldMkLst>
      </pc:sldChg>
      <pc:sldChg chg="add">
        <pc:chgData name="Patricia Ann Lee King" userId="S::pal094@ads.northwestern.edu::dbab7ec2-5444-4d21-afe7-a39974533ddc" providerId="AD" clId="Web-{92082E4D-8515-AA64-9AD0-FB204650FF57}" dt="2023-01-20T18:57:20.906" v="6"/>
        <pc:sldMkLst>
          <pc:docMk/>
          <pc:sldMk cId="926465203" sldId="684"/>
        </pc:sldMkLst>
      </pc:sldChg>
      <pc:sldChg chg="add del">
        <pc:chgData name="Patricia Ann Lee King" userId="S::pal094@ads.northwestern.edu::dbab7ec2-5444-4d21-afe7-a39974533ddc" providerId="AD" clId="Web-{92082E4D-8515-AA64-9AD0-FB204650FF57}" dt="2023-01-20T18:57:07.422" v="5"/>
        <pc:sldMkLst>
          <pc:docMk/>
          <pc:sldMk cId="1024718368" sldId="684"/>
        </pc:sldMkLst>
      </pc:sldChg>
    </pc:docChg>
  </pc:docChgLst>
  <pc:docChgLst>
    <pc:chgData name="Alana Rivera" userId="S::arg3669@ads.northwestern.edu::fc8b707a-b7e9-4f2a-8d71-2d76819b7881" providerId="AD" clId="Web-{7ED4C3D2-F746-3941-9AF4-9C1441C816F3}"/>
    <pc:docChg chg="addSld delSld modSld">
      <pc:chgData name="Alana Rivera" userId="S::arg3669@ads.northwestern.edu::fc8b707a-b7e9-4f2a-8d71-2d76819b7881" providerId="AD" clId="Web-{7ED4C3D2-F746-3941-9AF4-9C1441C816F3}" dt="2023-01-23T16:21:17.312" v="176"/>
      <pc:docMkLst>
        <pc:docMk/>
      </pc:docMkLst>
      <pc:sldChg chg="del">
        <pc:chgData name="Alana Rivera" userId="S::arg3669@ads.northwestern.edu::fc8b707a-b7e9-4f2a-8d71-2d76819b7881" providerId="AD" clId="Web-{7ED4C3D2-F746-3941-9AF4-9C1441C816F3}" dt="2023-01-23T16:08:13.521" v="117"/>
        <pc:sldMkLst>
          <pc:docMk/>
          <pc:sldMk cId="3319064144" sldId="623"/>
        </pc:sldMkLst>
      </pc:sldChg>
      <pc:sldChg chg="del">
        <pc:chgData name="Alana Rivera" userId="S::arg3669@ads.northwestern.edu::fc8b707a-b7e9-4f2a-8d71-2d76819b7881" providerId="AD" clId="Web-{7ED4C3D2-F746-3941-9AF4-9C1441C816F3}" dt="2023-01-23T16:08:18.989" v="121"/>
        <pc:sldMkLst>
          <pc:docMk/>
          <pc:sldMk cId="2447244355" sldId="624"/>
        </pc:sldMkLst>
      </pc:sldChg>
      <pc:sldChg chg="modSp">
        <pc:chgData name="Alana Rivera" userId="S::arg3669@ads.northwestern.edu::fc8b707a-b7e9-4f2a-8d71-2d76819b7881" providerId="AD" clId="Web-{7ED4C3D2-F746-3941-9AF4-9C1441C816F3}" dt="2023-01-23T16:04:13.559" v="92" actId="20577"/>
        <pc:sldMkLst>
          <pc:docMk/>
          <pc:sldMk cId="888239619" sldId="632"/>
        </pc:sldMkLst>
        <pc:spChg chg="mod">
          <ac:chgData name="Alana Rivera" userId="S::arg3669@ads.northwestern.edu::fc8b707a-b7e9-4f2a-8d71-2d76819b7881" providerId="AD" clId="Web-{7ED4C3D2-F746-3941-9AF4-9C1441C816F3}" dt="2023-01-23T16:04:13.559" v="92" actId="20577"/>
          <ac:spMkLst>
            <pc:docMk/>
            <pc:sldMk cId="888239619" sldId="632"/>
            <ac:spMk id="3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7ED4C3D2-F746-3941-9AF4-9C1441C816F3}" dt="2023-01-23T15:55:55.621" v="9"/>
        <pc:sldMkLst>
          <pc:docMk/>
          <pc:sldMk cId="2948974662" sldId="646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21" v="10"/>
        <pc:sldMkLst>
          <pc:docMk/>
          <pc:sldMk cId="381378734" sldId="647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05" v="5"/>
        <pc:sldMkLst>
          <pc:docMk/>
          <pc:sldMk cId="832258605" sldId="648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05" v="6"/>
        <pc:sldMkLst>
          <pc:docMk/>
          <pc:sldMk cId="1270144332" sldId="649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05" v="7"/>
        <pc:sldMkLst>
          <pc:docMk/>
          <pc:sldMk cId="1160821147" sldId="650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21" v="8"/>
        <pc:sldMkLst>
          <pc:docMk/>
          <pc:sldMk cId="809116715" sldId="651"/>
        </pc:sldMkLst>
      </pc:sldChg>
      <pc:sldChg chg="del">
        <pc:chgData name="Alana Rivera" userId="S::arg3669@ads.northwestern.edu::fc8b707a-b7e9-4f2a-8d71-2d76819b7881" providerId="AD" clId="Web-{7ED4C3D2-F746-3941-9AF4-9C1441C816F3}" dt="2023-01-23T15:55:55.605" v="4"/>
        <pc:sldMkLst>
          <pc:docMk/>
          <pc:sldMk cId="3930713224" sldId="652"/>
        </pc:sldMkLst>
      </pc:sldChg>
      <pc:sldChg chg="modSp">
        <pc:chgData name="Alana Rivera" userId="S::arg3669@ads.northwestern.edu::fc8b707a-b7e9-4f2a-8d71-2d76819b7881" providerId="AD" clId="Web-{7ED4C3D2-F746-3941-9AF4-9C1441C816F3}" dt="2023-01-23T15:58:00.406" v="34" actId="20577"/>
        <pc:sldMkLst>
          <pc:docMk/>
          <pc:sldMk cId="1933816182" sldId="653"/>
        </pc:sldMkLst>
        <pc:spChg chg="mod">
          <ac:chgData name="Alana Rivera" userId="S::arg3669@ads.northwestern.edu::fc8b707a-b7e9-4f2a-8d71-2d76819b7881" providerId="AD" clId="Web-{7ED4C3D2-F746-3941-9AF4-9C1441C816F3}" dt="2023-01-23T15:58:00.406" v="34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modSp addCm">
        <pc:chgData name="Alana Rivera" userId="S::arg3669@ads.northwestern.edu::fc8b707a-b7e9-4f2a-8d71-2d76819b7881" providerId="AD" clId="Web-{7ED4C3D2-F746-3941-9AF4-9C1441C816F3}" dt="2023-01-23T15:58:46.064" v="35"/>
        <pc:sldMkLst>
          <pc:docMk/>
          <pc:sldMk cId="2880533216" sldId="654"/>
        </pc:sldMkLst>
        <pc:spChg chg="mod">
          <ac:chgData name="Alana Rivera" userId="S::arg3669@ads.northwestern.edu::fc8b707a-b7e9-4f2a-8d71-2d76819b7881" providerId="AD" clId="Web-{7ED4C3D2-F746-3941-9AF4-9C1441C816F3}" dt="2023-01-23T15:54:02.242" v="3"/>
          <ac:spMkLst>
            <pc:docMk/>
            <pc:sldMk cId="2880533216" sldId="654"/>
            <ac:spMk id="2" creationId="{16817803-E785-34FC-07CE-0897747A535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5:58:46.064" v="35"/>
              <pc2:cmMkLst xmlns:pc2="http://schemas.microsoft.com/office/powerpoint/2019/9/main/command">
                <pc:docMk/>
                <pc:sldMk cId="2880533216" sldId="654"/>
                <pc2:cmMk id="{7CE96F17-E937-407E-8BED-00EC3F41D923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7ED4C3D2-F746-3941-9AF4-9C1441C816F3}" dt="2023-01-23T15:53:56.070" v="2"/>
        <pc:sldMkLst>
          <pc:docMk/>
          <pc:sldMk cId="2924007217" sldId="655"/>
        </pc:sldMkLst>
      </pc:sldChg>
      <pc:sldChg chg="del">
        <pc:chgData name="Alana Rivera" userId="S::arg3669@ads.northwestern.edu::fc8b707a-b7e9-4f2a-8d71-2d76819b7881" providerId="AD" clId="Web-{7ED4C3D2-F746-3941-9AF4-9C1441C816F3}" dt="2023-01-23T16:08:19.349" v="122"/>
        <pc:sldMkLst>
          <pc:docMk/>
          <pc:sldMk cId="3012549691" sldId="662"/>
        </pc:sldMkLst>
      </pc:sldChg>
      <pc:sldChg chg="del">
        <pc:chgData name="Alana Rivera" userId="S::arg3669@ads.northwestern.edu::fc8b707a-b7e9-4f2a-8d71-2d76819b7881" providerId="AD" clId="Web-{7ED4C3D2-F746-3941-9AF4-9C1441C816F3}" dt="2023-01-23T16:08:18.755" v="120"/>
        <pc:sldMkLst>
          <pc:docMk/>
          <pc:sldMk cId="1243351812" sldId="663"/>
        </pc:sldMkLst>
      </pc:sldChg>
      <pc:sldChg chg="del">
        <pc:chgData name="Alana Rivera" userId="S::arg3669@ads.northwestern.edu::fc8b707a-b7e9-4f2a-8d71-2d76819b7881" providerId="AD" clId="Web-{7ED4C3D2-F746-3941-9AF4-9C1441C816F3}" dt="2023-01-23T16:08:18.318" v="119"/>
        <pc:sldMkLst>
          <pc:docMk/>
          <pc:sldMk cId="1803306748" sldId="664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47.543" v="83"/>
        <pc:sldMkLst>
          <pc:docMk/>
          <pc:sldMk cId="2810791716" sldId="666"/>
        </pc:sldMkLst>
      </pc:sldChg>
      <pc:sldChg chg="modSp">
        <pc:chgData name="Alana Rivera" userId="S::arg3669@ads.northwestern.edu::fc8b707a-b7e9-4f2a-8d71-2d76819b7881" providerId="AD" clId="Web-{7ED4C3D2-F746-3941-9AF4-9C1441C816F3}" dt="2023-01-23T16:21:17.312" v="176"/>
        <pc:sldMkLst>
          <pc:docMk/>
          <pc:sldMk cId="777408379" sldId="671"/>
        </pc:sldMkLst>
        <pc:graphicFrameChg chg="mod modGraphic">
          <ac:chgData name="Alana Rivera" userId="S::arg3669@ads.northwestern.edu::fc8b707a-b7e9-4f2a-8d71-2d76819b7881" providerId="AD" clId="Web-{7ED4C3D2-F746-3941-9AF4-9C1441C816F3}" dt="2023-01-23T16:21:17.312" v="176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del">
        <pc:chgData name="Alana Rivera" userId="S::arg3669@ads.northwestern.edu::fc8b707a-b7e9-4f2a-8d71-2d76819b7881" providerId="AD" clId="Web-{7ED4C3D2-F746-3941-9AF4-9C1441C816F3}" dt="2023-01-23T16:03:52.496" v="87"/>
        <pc:sldMkLst>
          <pc:docMk/>
          <pc:sldMk cId="2726265585" sldId="673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52.231" v="86"/>
        <pc:sldMkLst>
          <pc:docMk/>
          <pc:sldMk cId="1906776872" sldId="674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52.027" v="85"/>
        <pc:sldMkLst>
          <pc:docMk/>
          <pc:sldMk cId="985400610" sldId="675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52.731" v="88"/>
        <pc:sldMkLst>
          <pc:docMk/>
          <pc:sldMk cId="1057043416" sldId="678"/>
        </pc:sldMkLst>
      </pc:sldChg>
      <pc:sldChg chg="del">
        <pc:chgData name="Alana Rivera" userId="S::arg3669@ads.northwestern.edu::fc8b707a-b7e9-4f2a-8d71-2d76819b7881" providerId="AD" clId="Web-{7ED4C3D2-F746-3941-9AF4-9C1441C816F3}" dt="2023-01-23T15:57:42.500" v="30"/>
        <pc:sldMkLst>
          <pc:docMk/>
          <pc:sldMk cId="1565702255" sldId="679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44.668" v="82"/>
        <pc:sldMkLst>
          <pc:docMk/>
          <pc:sldMk cId="2445583017" sldId="680"/>
        </pc:sldMkLst>
      </pc:sldChg>
      <pc:sldChg chg="del">
        <pc:chgData name="Alana Rivera" userId="S::arg3669@ads.northwestern.edu::fc8b707a-b7e9-4f2a-8d71-2d76819b7881" providerId="AD" clId="Web-{7ED4C3D2-F746-3941-9AF4-9C1441C816F3}" dt="2023-01-23T16:08:15.411" v="118"/>
        <pc:sldMkLst>
          <pc:docMk/>
          <pc:sldMk cId="1105007187" sldId="681"/>
        </pc:sldMkLst>
      </pc:sldChg>
      <pc:sldChg chg="del">
        <pc:chgData name="Alana Rivera" userId="S::arg3669@ads.northwestern.edu::fc8b707a-b7e9-4f2a-8d71-2d76819b7881" providerId="AD" clId="Web-{7ED4C3D2-F746-3941-9AF4-9C1441C816F3}" dt="2023-01-23T15:53:38.898" v="0"/>
        <pc:sldMkLst>
          <pc:docMk/>
          <pc:sldMk cId="651998752" sldId="683"/>
        </pc:sldMkLst>
      </pc:sldChg>
      <pc:sldChg chg="del">
        <pc:chgData name="Alana Rivera" userId="S::arg3669@ads.northwestern.edu::fc8b707a-b7e9-4f2a-8d71-2d76819b7881" providerId="AD" clId="Web-{7ED4C3D2-F746-3941-9AF4-9C1441C816F3}" dt="2023-01-23T16:03:51.949" v="84"/>
        <pc:sldMkLst>
          <pc:docMk/>
          <pc:sldMk cId="926465203" sldId="684"/>
        </pc:sldMkLst>
      </pc:sldChg>
      <pc:sldChg chg="add">
        <pc:chgData name="Alana Rivera" userId="S::arg3669@ads.northwestern.edu::fc8b707a-b7e9-4f2a-8d71-2d76819b7881" providerId="AD" clId="Web-{7ED4C3D2-F746-3941-9AF4-9C1441C816F3}" dt="2023-01-23T15:53:48.791" v="1"/>
        <pc:sldMkLst>
          <pc:docMk/>
          <pc:sldMk cId="248905733" sldId="685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5.255" v="129"/>
        <pc:sldMkLst>
          <pc:docMk/>
          <pc:sldMk cId="848558734" sldId="686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4.365" v="128"/>
        <pc:sldMkLst>
          <pc:docMk/>
          <pc:sldMk cId="3374268614" sldId="687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4.224" v="127"/>
        <pc:sldMkLst>
          <pc:docMk/>
          <pc:sldMk cId="660046136" sldId="688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4.161" v="126"/>
        <pc:sldMkLst>
          <pc:docMk/>
          <pc:sldMk cId="817424807" sldId="689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4.021" v="125"/>
        <pc:sldMkLst>
          <pc:docMk/>
          <pc:sldMk cId="1778629428" sldId="690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2.818" v="124"/>
        <pc:sldMkLst>
          <pc:docMk/>
          <pc:sldMk cId="1692467660" sldId="691"/>
        </pc:sldMkLst>
      </pc:sldChg>
      <pc:sldChg chg="add del">
        <pc:chgData name="Alana Rivera" userId="S::arg3669@ads.northwestern.edu::fc8b707a-b7e9-4f2a-8d71-2d76819b7881" providerId="AD" clId="Web-{7ED4C3D2-F746-3941-9AF4-9C1441C816F3}" dt="2023-01-23T16:08:20.427" v="123"/>
        <pc:sldMkLst>
          <pc:docMk/>
          <pc:sldMk cId="188615170" sldId="692"/>
        </pc:sldMkLst>
      </pc:sldChg>
      <pc:sldChg chg="modSp add addCm">
        <pc:chgData name="Alana Rivera" userId="S::arg3669@ads.northwestern.edu::fc8b707a-b7e9-4f2a-8d71-2d76819b7881" providerId="AD" clId="Web-{7ED4C3D2-F746-3941-9AF4-9C1441C816F3}" dt="2023-01-23T15:59:10.784" v="36"/>
        <pc:sldMkLst>
          <pc:docMk/>
          <pc:sldMk cId="1618859033" sldId="693"/>
        </pc:sldMkLst>
        <pc:spChg chg="mod">
          <ac:chgData name="Alana Rivera" userId="S::arg3669@ads.northwestern.edu::fc8b707a-b7e9-4f2a-8d71-2d76819b7881" providerId="AD" clId="Web-{7ED4C3D2-F746-3941-9AF4-9C1441C816F3}" dt="2023-01-23T15:57:35.624" v="29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Alana Rivera" userId="S::arg3669@ads.northwestern.edu::fc8b707a-b7e9-4f2a-8d71-2d76819b7881" providerId="AD" clId="Web-{7ED4C3D2-F746-3941-9AF4-9C1441C816F3}" dt="2023-01-23T15:57:33.609" v="28"/>
          <ac:graphicFrameMkLst>
            <pc:docMk/>
            <pc:sldMk cId="1618859033" sldId="693"/>
            <ac:graphicFrameMk id="6" creationId="{ABE664EC-DB8D-1736-BD6F-502306CFE78D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5:59:10.784" v="36"/>
              <pc2:cmMkLst xmlns:pc2="http://schemas.microsoft.com/office/powerpoint/2019/9/main/command">
                <pc:docMk/>
                <pc:sldMk cId="1618859033" sldId="693"/>
                <pc2:cmMk id="{E71A04E1-EC9E-45F8-A554-7CBD071D2160}"/>
              </pc2:cmMkLst>
            </pc226:cmChg>
          </p:ext>
        </pc:extLst>
      </pc:sldChg>
      <pc:sldChg chg="add">
        <pc:chgData name="Alana Rivera" userId="S::arg3669@ads.northwestern.edu::fc8b707a-b7e9-4f2a-8d71-2d76819b7881" providerId="AD" clId="Web-{7ED4C3D2-F746-3941-9AF4-9C1441C816F3}" dt="2023-01-23T16:00:03.442" v="37"/>
        <pc:sldMkLst>
          <pc:docMk/>
          <pc:sldMk cId="3104795000" sldId="694"/>
        </pc:sldMkLst>
      </pc:sldChg>
      <pc:sldChg chg="add">
        <pc:chgData name="Alana Rivera" userId="S::arg3669@ads.northwestern.edu::fc8b707a-b7e9-4f2a-8d71-2d76819b7881" providerId="AD" clId="Web-{7ED4C3D2-F746-3941-9AF4-9C1441C816F3}" dt="2023-01-23T16:00:03.957" v="38"/>
        <pc:sldMkLst>
          <pc:docMk/>
          <pc:sldMk cId="2506523410" sldId="695"/>
        </pc:sldMkLst>
      </pc:sldChg>
      <pc:sldChg chg="add">
        <pc:chgData name="Alana Rivera" userId="S::arg3669@ads.northwestern.edu::fc8b707a-b7e9-4f2a-8d71-2d76819b7881" providerId="AD" clId="Web-{7ED4C3D2-F746-3941-9AF4-9C1441C816F3}" dt="2023-01-23T16:00:04.504" v="39"/>
        <pc:sldMkLst>
          <pc:docMk/>
          <pc:sldMk cId="2990569153" sldId="696"/>
        </pc:sldMkLst>
      </pc:sldChg>
      <pc:sldChg chg="add">
        <pc:chgData name="Alana Rivera" userId="S::arg3669@ads.northwestern.edu::fc8b707a-b7e9-4f2a-8d71-2d76819b7881" providerId="AD" clId="Web-{7ED4C3D2-F746-3941-9AF4-9C1441C816F3}" dt="2023-01-23T16:00:05.020" v="40"/>
        <pc:sldMkLst>
          <pc:docMk/>
          <pc:sldMk cId="872415970" sldId="697"/>
        </pc:sldMkLst>
      </pc:sldChg>
      <pc:sldChg chg="modSp add addCm">
        <pc:chgData name="Alana Rivera" userId="S::arg3669@ads.northwestern.edu::fc8b707a-b7e9-4f2a-8d71-2d76819b7881" providerId="AD" clId="Web-{7ED4C3D2-F746-3941-9AF4-9C1441C816F3}" dt="2023-01-23T16:03:39.965" v="81" actId="20577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7ED4C3D2-F746-3941-9AF4-9C1441C816F3}" dt="2023-01-23T16:02:44.650" v="66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ana Rivera" userId="S::arg3669@ads.northwestern.edu::fc8b707a-b7e9-4f2a-8d71-2d76819b7881" providerId="AD" clId="Web-{7ED4C3D2-F746-3941-9AF4-9C1441C816F3}" dt="2023-01-23T16:03:39.965" v="81" actId="20577"/>
          <ac:spMkLst>
            <pc:docMk/>
            <pc:sldMk cId="3682438970" sldId="698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6:02:52.494" v="67"/>
              <pc2:cmMkLst xmlns:pc2="http://schemas.microsoft.com/office/powerpoint/2019/9/main/command">
                <pc:docMk/>
                <pc:sldMk cId="3682438970" sldId="698"/>
                <pc2:cmMk id="{B194CE79-C799-4247-9D59-0C88A8BC26BC}"/>
              </pc2:cmMkLst>
            </pc226:cmChg>
          </p:ext>
        </pc:extLst>
      </pc:sldChg>
      <pc:sldChg chg="add">
        <pc:chgData name="Alana Rivera" userId="S::arg3669@ads.northwestern.edu::fc8b707a-b7e9-4f2a-8d71-2d76819b7881" providerId="AD" clId="Web-{7ED4C3D2-F746-3941-9AF4-9C1441C816F3}" dt="2023-01-23T16:00:05.973" v="42"/>
        <pc:sldMkLst>
          <pc:docMk/>
          <pc:sldMk cId="3366786566" sldId="699"/>
        </pc:sldMkLst>
      </pc:sldChg>
      <pc:sldChg chg="modSp add addCm">
        <pc:chgData name="Alana Rivera" userId="S::arg3669@ads.northwestern.edu::fc8b707a-b7e9-4f2a-8d71-2d76819b7881" providerId="AD" clId="Web-{7ED4C3D2-F746-3941-9AF4-9C1441C816F3}" dt="2023-01-23T16:02:37.478" v="65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7ED4C3D2-F746-3941-9AF4-9C1441C816F3}" dt="2023-01-23T16:00:21.036" v="44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ana Rivera" userId="S::arg3669@ads.northwestern.edu::fc8b707a-b7e9-4f2a-8d71-2d76819b7881" providerId="AD" clId="Web-{7ED4C3D2-F746-3941-9AF4-9C1441C816F3}" dt="2023-01-23T16:01:18.319" v="64" actId="20577"/>
          <ac:spMkLst>
            <pc:docMk/>
            <pc:sldMk cId="149255822" sldId="700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6:02:37.478" v="65"/>
              <pc2:cmMkLst xmlns:pc2="http://schemas.microsoft.com/office/powerpoint/2019/9/main/command">
                <pc:docMk/>
                <pc:sldMk cId="149255822" sldId="700"/>
                <pc2:cmMk id="{4523359A-730F-4C94-BC5E-8898D7C9CAE7}"/>
              </pc2:cmMkLst>
            </pc226:cmChg>
          </p:ext>
        </pc:extLst>
      </pc:sldChg>
      <pc:sldChg chg="add">
        <pc:chgData name="Alana Rivera" userId="S::arg3669@ads.northwestern.edu::fc8b707a-b7e9-4f2a-8d71-2d76819b7881" providerId="AD" clId="Web-{7ED4C3D2-F746-3941-9AF4-9C1441C816F3}" dt="2023-01-23T16:04:49.045" v="93"/>
        <pc:sldMkLst>
          <pc:docMk/>
          <pc:sldMk cId="446662921" sldId="701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49.545" v="94"/>
        <pc:sldMkLst>
          <pc:docMk/>
          <pc:sldMk cId="1870894202" sldId="702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0.123" v="95"/>
        <pc:sldMkLst>
          <pc:docMk/>
          <pc:sldMk cId="985547906" sldId="703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0.623" v="96"/>
        <pc:sldMkLst>
          <pc:docMk/>
          <pc:sldMk cId="2545380390" sldId="704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1.076" v="97"/>
        <pc:sldMkLst>
          <pc:docMk/>
          <pc:sldMk cId="2275656773" sldId="705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1.514" v="98"/>
        <pc:sldMkLst>
          <pc:docMk/>
          <pc:sldMk cId="765836465" sldId="706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1.951" v="99"/>
        <pc:sldMkLst>
          <pc:docMk/>
          <pc:sldMk cId="1016233049" sldId="707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2.514" v="100"/>
        <pc:sldMkLst>
          <pc:docMk/>
          <pc:sldMk cId="1321989229" sldId="708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6.264" v="101"/>
        <pc:sldMkLst>
          <pc:docMk/>
          <pc:sldMk cId="3542226056" sldId="709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6.826" v="102"/>
        <pc:sldMkLst>
          <pc:docMk/>
          <pc:sldMk cId="1869196504" sldId="710"/>
        </pc:sldMkLst>
      </pc:sldChg>
      <pc:sldChg chg="add">
        <pc:chgData name="Alana Rivera" userId="S::arg3669@ads.northwestern.edu::fc8b707a-b7e9-4f2a-8d71-2d76819b7881" providerId="AD" clId="Web-{7ED4C3D2-F746-3941-9AF4-9C1441C816F3}" dt="2023-01-23T16:04:57.389" v="103"/>
        <pc:sldMkLst>
          <pc:docMk/>
          <pc:sldMk cId="3253149521" sldId="711"/>
        </pc:sldMkLst>
      </pc:sldChg>
      <pc:sldChg chg="modSp add addCm">
        <pc:chgData name="Alana Rivera" userId="S::arg3669@ads.northwestern.edu::fc8b707a-b7e9-4f2a-8d71-2d76819b7881" providerId="AD" clId="Web-{7ED4C3D2-F746-3941-9AF4-9C1441C816F3}" dt="2023-01-23T16:08:02.973" v="116"/>
        <pc:sldMkLst>
          <pc:docMk/>
          <pc:sldMk cId="1127716331" sldId="712"/>
        </pc:sldMkLst>
        <pc:spChg chg="mod">
          <ac:chgData name="Alana Rivera" userId="S::arg3669@ads.northwestern.edu::fc8b707a-b7e9-4f2a-8d71-2d76819b7881" providerId="AD" clId="Web-{7ED4C3D2-F746-3941-9AF4-9C1441C816F3}" dt="2023-01-23T16:08:02.973" v="116"/>
          <ac:spMkLst>
            <pc:docMk/>
            <pc:sldMk cId="1127716331" sldId="712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6:07:59.223" v="115"/>
              <pc2:cmMkLst xmlns:pc2="http://schemas.microsoft.com/office/powerpoint/2019/9/main/command">
                <pc:docMk/>
                <pc:sldMk cId="1127716331" sldId="712"/>
                <pc2:cmMk id="{84E5E094-EB78-45D0-8653-2973CFA2A7BF}"/>
              </pc2:cmMkLst>
            </pc226:cmChg>
          </p:ext>
        </pc:extLst>
      </pc:sldChg>
      <pc:sldChg chg="modSp add addCm">
        <pc:chgData name="Alana Rivera" userId="S::arg3669@ads.northwestern.edu::fc8b707a-b7e9-4f2a-8d71-2d76819b7881" providerId="AD" clId="Web-{7ED4C3D2-F746-3941-9AF4-9C1441C816F3}" dt="2023-01-23T16:07:37.613" v="114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7ED4C3D2-F746-3941-9AF4-9C1441C816F3}" dt="2023-01-23T16:06:58.721" v="106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Alana Rivera" userId="S::arg3669@ads.northwestern.edu::fc8b707a-b7e9-4f2a-8d71-2d76819b7881" providerId="AD" clId="Web-{7ED4C3D2-F746-3941-9AF4-9C1441C816F3}" dt="2023-01-23T16:07:21.050" v="113" actId="20577"/>
          <ac:spMkLst>
            <pc:docMk/>
            <pc:sldMk cId="1886867389" sldId="713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7ED4C3D2-F746-3941-9AF4-9C1441C816F3}" dt="2023-01-23T16:07:37.613" v="114"/>
              <pc2:cmMkLst xmlns:pc2="http://schemas.microsoft.com/office/powerpoint/2019/9/main/command">
                <pc:docMk/>
                <pc:sldMk cId="1886867389" sldId="713"/>
                <pc2:cmMk id="{6E9E9D80-A7E8-47C5-9B0A-6B52349DAC46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078C8EC6-F2FD-1DD7-F441-8265575149F0}"/>
    <pc:docChg chg="addSld delSld modSld sldOrd">
      <pc:chgData name="Alana Rivera" userId="S::arg3669@ads.northwestern.edu::fc8b707a-b7e9-4f2a-8d71-2d76819b7881" providerId="AD" clId="Web-{078C8EC6-F2FD-1DD7-F441-8265575149F0}" dt="2023-03-02T21:56:38.690" v="5"/>
      <pc:docMkLst>
        <pc:docMk/>
      </pc:docMkLst>
      <pc:sldChg chg="modSp">
        <pc:chgData name="Alana Rivera" userId="S::arg3669@ads.northwestern.edu::fc8b707a-b7e9-4f2a-8d71-2d76819b7881" providerId="AD" clId="Web-{078C8EC6-F2FD-1DD7-F441-8265575149F0}" dt="2023-03-02T21:54:17.670" v="2"/>
        <pc:sldMkLst>
          <pc:docMk/>
          <pc:sldMk cId="1321989229" sldId="708"/>
        </pc:sldMkLst>
        <pc:spChg chg="mod">
          <ac:chgData name="Alana Rivera" userId="S::arg3669@ads.northwestern.edu::fc8b707a-b7e9-4f2a-8d71-2d76819b7881" providerId="AD" clId="Web-{078C8EC6-F2FD-1DD7-F441-8265575149F0}" dt="2023-03-02T21:54:17.670" v="2"/>
          <ac:spMkLst>
            <pc:docMk/>
            <pc:sldMk cId="1321989229" sldId="708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078C8EC6-F2FD-1DD7-F441-8265575149F0}" dt="2023-03-02T21:53:43.763" v="1" actId="20577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078C8EC6-F2FD-1DD7-F441-8265575149F0}" dt="2023-03-02T21:53:43.763" v="1" actId="20577"/>
          <ac:spMkLst>
            <pc:docMk/>
            <pc:sldMk cId="1886867389" sldId="713"/>
            <ac:spMk id="3" creationId="{1419A524-96F5-A0B2-CACE-F9567471AB2E}"/>
          </ac:spMkLst>
        </pc:spChg>
      </pc:sldChg>
      <pc:sldChg chg="del">
        <pc:chgData name="Alana Rivera" userId="S::arg3669@ads.northwestern.edu::fc8b707a-b7e9-4f2a-8d71-2d76819b7881" providerId="AD" clId="Web-{078C8EC6-F2FD-1DD7-F441-8265575149F0}" dt="2023-03-02T21:56:29.799" v="3"/>
        <pc:sldMkLst>
          <pc:docMk/>
          <pc:sldMk cId="398496355" sldId="726"/>
        </pc:sldMkLst>
      </pc:sldChg>
      <pc:sldChg chg="add ord">
        <pc:chgData name="Alana Rivera" userId="S::arg3669@ads.northwestern.edu::fc8b707a-b7e9-4f2a-8d71-2d76819b7881" providerId="AD" clId="Web-{078C8EC6-F2FD-1DD7-F441-8265575149F0}" dt="2023-03-02T21:56:38.690" v="5"/>
        <pc:sldMkLst>
          <pc:docMk/>
          <pc:sldMk cId="1759612363" sldId="737"/>
        </pc:sldMkLst>
      </pc:sldChg>
    </pc:docChg>
  </pc:docChgLst>
  <pc:docChgLst>
    <pc:chgData name="Alana Rivera" userId="S::arg3669@ads.northwestern.edu::fc8b707a-b7e9-4f2a-8d71-2d76819b7881" providerId="AD" clId="Web-{434F9521-757E-E9F9-7DDF-1EA021A0409E}"/>
    <pc:docChg chg="modSld">
      <pc:chgData name="Alana Rivera" userId="S::arg3669@ads.northwestern.edu::fc8b707a-b7e9-4f2a-8d71-2d76819b7881" providerId="AD" clId="Web-{434F9521-757E-E9F9-7DDF-1EA021A0409E}" dt="2023-01-16T21:19:29.132" v="13" actId="1076"/>
      <pc:docMkLst>
        <pc:docMk/>
      </pc:docMkLst>
      <pc:sldChg chg="addSp delSp modSp">
        <pc:chgData name="Alana Rivera" userId="S::arg3669@ads.northwestern.edu::fc8b707a-b7e9-4f2a-8d71-2d76819b7881" providerId="AD" clId="Web-{434F9521-757E-E9F9-7DDF-1EA021A0409E}" dt="2023-01-16T21:19:29.132" v="13" actId="1076"/>
        <pc:sldMkLst>
          <pc:docMk/>
          <pc:sldMk cId="196190430" sldId="645"/>
        </pc:sldMkLst>
        <pc:spChg chg="add del mod">
          <ac:chgData name="Alana Rivera" userId="S::arg3669@ads.northwestern.edu::fc8b707a-b7e9-4f2a-8d71-2d76819b7881" providerId="AD" clId="Web-{434F9521-757E-E9F9-7DDF-1EA021A0409E}" dt="2023-01-16T21:18:24.255" v="5"/>
          <ac:spMkLst>
            <pc:docMk/>
            <pc:sldMk cId="196190430" sldId="645"/>
            <ac:spMk id="2" creationId="{9A35DD39-4FEF-14BF-71CA-DC1E9D33C91C}"/>
          </ac:spMkLst>
        </pc:spChg>
        <pc:spChg chg="del">
          <ac:chgData name="Alana Rivera" userId="S::arg3669@ads.northwestern.edu::fc8b707a-b7e9-4f2a-8d71-2d76819b7881" providerId="AD" clId="Web-{434F9521-757E-E9F9-7DDF-1EA021A0409E}" dt="2023-01-16T21:18:16.427" v="1"/>
          <ac:spMkLst>
            <pc:docMk/>
            <pc:sldMk cId="196190430" sldId="645"/>
            <ac:spMk id="4" creationId="{19922563-64D6-2A4E-B048-13AC25DB45AD}"/>
          </ac:spMkLst>
        </pc:spChg>
        <pc:spChg chg="del">
          <ac:chgData name="Alana Rivera" userId="S::arg3669@ads.northwestern.edu::fc8b707a-b7e9-4f2a-8d71-2d76819b7881" providerId="AD" clId="Web-{434F9521-757E-E9F9-7DDF-1EA021A0409E}" dt="2023-01-16T21:18:14.411" v="0"/>
          <ac:spMkLst>
            <pc:docMk/>
            <pc:sldMk cId="196190430" sldId="645"/>
            <ac:spMk id="6" creationId="{A339B88B-4F92-8E31-62DD-F058C205BFBD}"/>
          </ac:spMkLst>
        </pc:spChg>
        <pc:spChg chg="add mod">
          <ac:chgData name="Alana Rivera" userId="S::arg3669@ads.northwestern.edu::fc8b707a-b7e9-4f2a-8d71-2d76819b7881" providerId="AD" clId="Web-{434F9521-757E-E9F9-7DDF-1EA021A0409E}" dt="2023-01-16T21:19:29.132" v="13" actId="1076"/>
          <ac:spMkLst>
            <pc:docMk/>
            <pc:sldMk cId="196190430" sldId="645"/>
            <ac:spMk id="7" creationId="{E2FF8D45-BFEB-7CA2-6CDA-61B2AF4C1505}"/>
          </ac:spMkLst>
        </pc:spChg>
      </pc:sldChg>
    </pc:docChg>
  </pc:docChgLst>
  <pc:docChgLst>
    <pc:chgData name="Eileen Fleming Suse" userId="S::efs3844@ads.northwestern.edu::725c94ef-d051-42d7-9d33-8572765d592b" providerId="AD" clId="Web-{9E28955B-8DB3-838A-DE63-505740A50713}"/>
    <pc:docChg chg="addSld delSld modSld">
      <pc:chgData name="Eileen Fleming Suse" userId="S::efs3844@ads.northwestern.edu::725c94ef-d051-42d7-9d33-8572765d592b" providerId="AD" clId="Web-{9E28955B-8DB3-838A-DE63-505740A50713}" dt="2023-04-11T18:23:54.811" v="237"/>
      <pc:docMkLst>
        <pc:docMk/>
      </pc:docMkLst>
      <pc:sldChg chg="modSp">
        <pc:chgData name="Eileen Fleming Suse" userId="S::efs3844@ads.northwestern.edu::725c94ef-d051-42d7-9d33-8572765d592b" providerId="AD" clId="Web-{9E28955B-8DB3-838A-DE63-505740A50713}" dt="2023-04-11T18:18:34.896" v="224" actId="20577"/>
        <pc:sldMkLst>
          <pc:docMk/>
          <pc:sldMk cId="1933816182" sldId="653"/>
        </pc:sldMkLst>
        <pc:spChg chg="mod">
          <ac:chgData name="Eileen Fleming Suse" userId="S::efs3844@ads.northwestern.edu::725c94ef-d051-42d7-9d33-8572765d592b" providerId="AD" clId="Web-{9E28955B-8DB3-838A-DE63-505740A50713}" dt="2023-04-11T18:18:34.896" v="224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modSp">
        <pc:chgData name="Eileen Fleming Suse" userId="S::efs3844@ads.northwestern.edu::725c94ef-d051-42d7-9d33-8572765d592b" providerId="AD" clId="Web-{9E28955B-8DB3-838A-DE63-505740A50713}" dt="2023-04-11T17:34:28.545" v="38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9E28955B-8DB3-838A-DE63-505740A50713}" dt="2023-04-11T17:34:28.545" v="38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9E28955B-8DB3-838A-DE63-505740A50713}" dt="2023-04-11T17:34:14.092" v="36"/>
          <ac:graphicFrameMkLst>
            <pc:docMk/>
            <pc:sldMk cId="1618859033" sldId="693"/>
            <ac:graphicFrameMk id="6" creationId="{ABE664EC-DB8D-1736-BD6F-502306CFE78D}"/>
          </ac:graphicFrameMkLst>
        </pc:graphicFrameChg>
      </pc:sldChg>
      <pc:sldChg chg="addSp delSp modSp">
        <pc:chgData name="Eileen Fleming Suse" userId="S::efs3844@ads.northwestern.edu::725c94ef-d051-42d7-9d33-8572765d592b" providerId="AD" clId="Web-{9E28955B-8DB3-838A-DE63-505740A50713}" dt="2023-04-11T18:18:45.787" v="225" actId="1076"/>
        <pc:sldMkLst>
          <pc:docMk/>
          <pc:sldMk cId="1127716331" sldId="712"/>
        </pc:sldMkLst>
        <pc:spChg chg="mod">
          <ac:chgData name="Eileen Fleming Suse" userId="S::efs3844@ads.northwestern.edu::725c94ef-d051-42d7-9d33-8572765d592b" providerId="AD" clId="Web-{9E28955B-8DB3-838A-DE63-505740A50713}" dt="2023-04-11T18:18:45.787" v="225" actId="1076"/>
          <ac:spMkLst>
            <pc:docMk/>
            <pc:sldMk cId="1127716331" sldId="712"/>
            <ac:spMk id="2" creationId="{00000000-0000-0000-0000-000000000000}"/>
          </ac:spMkLst>
        </pc:spChg>
        <pc:spChg chg="add mod">
          <ac:chgData name="Eileen Fleming Suse" userId="S::efs3844@ads.northwestern.edu::725c94ef-d051-42d7-9d33-8572765d592b" providerId="AD" clId="Web-{9E28955B-8DB3-838A-DE63-505740A50713}" dt="2023-04-11T18:17:25.862" v="140" actId="20577"/>
          <ac:spMkLst>
            <pc:docMk/>
            <pc:sldMk cId="1127716331" sldId="712"/>
            <ac:spMk id="6" creationId="{E65CA684-40F5-A276-79C0-B0D60C8A7AC1}"/>
          </ac:spMkLst>
        </pc:spChg>
        <pc:picChg chg="del">
          <ac:chgData name="Eileen Fleming Suse" userId="S::efs3844@ads.northwestern.edu::725c94ef-d051-42d7-9d33-8572765d592b" providerId="AD" clId="Web-{9E28955B-8DB3-838A-DE63-505740A50713}" dt="2023-04-11T17:35:03.327" v="41"/>
          <ac:picMkLst>
            <pc:docMk/>
            <pc:sldMk cId="1127716331" sldId="712"/>
            <ac:picMk id="10" creationId="{ED1B7D58-03B6-8774-81EA-E66066A80375}"/>
          </ac:picMkLst>
        </pc:picChg>
      </pc:sldChg>
      <pc:sldChg chg="del">
        <pc:chgData name="Eileen Fleming Suse" userId="S::efs3844@ads.northwestern.edu::725c94ef-d051-42d7-9d33-8572765d592b" providerId="AD" clId="Web-{9E28955B-8DB3-838A-DE63-505740A50713}" dt="2023-04-11T17:34:59.718" v="40"/>
        <pc:sldMkLst>
          <pc:docMk/>
          <pc:sldMk cId="1886867389" sldId="713"/>
        </pc:sldMkLst>
      </pc:sldChg>
      <pc:sldChg chg="modSp">
        <pc:chgData name="Eileen Fleming Suse" userId="S::efs3844@ads.northwestern.edu::725c94ef-d051-42d7-9d33-8572765d592b" providerId="AD" clId="Web-{9E28955B-8DB3-838A-DE63-505740A50713}" dt="2023-04-11T17:19:32.602" v="30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9E28955B-8DB3-838A-DE63-505740A50713}" dt="2023-04-11T17:19:32.602" v="30"/>
          <ac:spMkLst>
            <pc:docMk/>
            <pc:sldMk cId="2905881923" sldId="716"/>
            <ac:spMk id="2" creationId="{16817803-E785-34FC-07CE-0897747A5350}"/>
          </ac:spMkLst>
        </pc:spChg>
        <pc:spChg chg="mod">
          <ac:chgData name="Eileen Fleming Suse" userId="S::efs3844@ads.northwestern.edu::725c94ef-d051-42d7-9d33-8572765d592b" providerId="AD" clId="Web-{9E28955B-8DB3-838A-DE63-505740A50713}" dt="2023-04-11T17:19:28.540" v="29" actId="20577"/>
          <ac:spMkLst>
            <pc:docMk/>
            <pc:sldMk cId="2905881923" sldId="716"/>
            <ac:spMk id="12" creationId="{264C5A32-C49E-EB9B-26E3-DEB2108A83B8}"/>
          </ac:spMkLst>
        </pc:spChg>
      </pc:sldChg>
      <pc:sldChg chg="delSp modSp add replId">
        <pc:chgData name="Eileen Fleming Suse" userId="S::efs3844@ads.northwestern.edu::725c94ef-d051-42d7-9d33-8572765d592b" providerId="AD" clId="Web-{9E28955B-8DB3-838A-DE63-505740A50713}" dt="2023-04-11T18:23:54.811" v="237"/>
        <pc:sldMkLst>
          <pc:docMk/>
          <pc:sldMk cId="4237431969" sldId="752"/>
        </pc:sldMkLst>
        <pc:spChg chg="mod">
          <ac:chgData name="Eileen Fleming Suse" userId="S::efs3844@ads.northwestern.edu::725c94ef-d051-42d7-9d33-8572765d592b" providerId="AD" clId="Web-{9E28955B-8DB3-838A-DE63-505740A50713}" dt="2023-04-11T17:46:13.453" v="50" actId="20577"/>
          <ac:spMkLst>
            <pc:docMk/>
            <pc:sldMk cId="4237431969" sldId="752"/>
            <ac:spMk id="2" creationId="{7719FD7A-7B92-EC42-6554-FA310B6714B1}"/>
          </ac:spMkLst>
        </pc:spChg>
        <pc:spChg chg="mod">
          <ac:chgData name="Eileen Fleming Suse" userId="S::efs3844@ads.northwestern.edu::725c94ef-d051-42d7-9d33-8572765d592b" providerId="AD" clId="Web-{9E28955B-8DB3-838A-DE63-505740A50713}" dt="2023-04-11T18:23:50.373" v="229" actId="20577"/>
          <ac:spMkLst>
            <pc:docMk/>
            <pc:sldMk cId="4237431969" sldId="752"/>
            <ac:spMk id="7" creationId="{B507C73F-B2D3-5CC3-9FAA-714C09BE3072}"/>
          </ac:spMkLst>
        </pc:spChg>
        <pc:graphicFrameChg chg="mod modGraphic">
          <ac:chgData name="Eileen Fleming Suse" userId="S::efs3844@ads.northwestern.edu::725c94ef-d051-42d7-9d33-8572765d592b" providerId="AD" clId="Web-{9E28955B-8DB3-838A-DE63-505740A50713}" dt="2023-04-11T18:23:54.811" v="237"/>
          <ac:graphicFrameMkLst>
            <pc:docMk/>
            <pc:sldMk cId="4237431969" sldId="752"/>
            <ac:graphicFrameMk id="6" creationId="{ABE664EC-DB8D-1736-BD6F-502306CFE78D}"/>
          </ac:graphicFrameMkLst>
        </pc:graphicFrameChg>
        <pc:picChg chg="del">
          <ac:chgData name="Eileen Fleming Suse" userId="S::efs3844@ads.northwestern.edu::725c94ef-d051-42d7-9d33-8572765d592b" providerId="AD" clId="Web-{9E28955B-8DB3-838A-DE63-505740A50713}" dt="2023-04-11T18:18:51.490" v="226"/>
          <ac:picMkLst>
            <pc:docMk/>
            <pc:sldMk cId="4237431969" sldId="752"/>
            <ac:picMk id="9" creationId="{F5FEF95E-8A79-35EE-7802-6AD0DC55B818}"/>
          </ac:picMkLst>
        </pc:picChg>
      </pc:sldChg>
    </pc:docChg>
  </pc:docChgLst>
  <pc:docChgLst>
    <pc:chgData name="Alana Rivera" userId="S::arg3669@ads.northwestern.edu::fc8b707a-b7e9-4f2a-8d71-2d76819b7881" providerId="AD" clId="Web-{949B942C-4E70-714C-6171-901ED6429352}"/>
    <pc:docChg chg="modSld">
      <pc:chgData name="Alana Rivera" userId="S::arg3669@ads.northwestern.edu::fc8b707a-b7e9-4f2a-8d71-2d76819b7881" providerId="AD" clId="Web-{949B942C-4E70-714C-6171-901ED6429352}" dt="2024-01-11T18:51:45.207" v="62" actId="1076"/>
      <pc:docMkLst>
        <pc:docMk/>
      </pc:docMkLst>
      <pc:sldChg chg="delCm">
        <pc:chgData name="Alana Rivera" userId="S::arg3669@ads.northwestern.edu::fc8b707a-b7e9-4f2a-8d71-2d76819b7881" providerId="AD" clId="Web-{949B942C-4E70-714C-6171-901ED6429352}" dt="2024-01-11T18:21:58.015" v="0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949B942C-4E70-714C-6171-901ED6429352}" dt="2024-01-11T18:21:58.015" v="0"/>
              <pc2:cmMkLst xmlns:pc2="http://schemas.microsoft.com/office/powerpoint/2019/9/main/command">
                <pc:docMk/>
                <pc:sldMk cId="2371520634" sldId="631"/>
                <pc2:cmMk id="{AEF45521-EA10-45D0-A7E0-B61B57DF64FA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949B942C-4E70-714C-6171-901ED6429352}" dt="2024-01-11T18:51:45.207" v="62" actId="1076"/>
        <pc:sldMkLst>
          <pc:docMk/>
          <pc:sldMk cId="1805206964" sldId="811"/>
        </pc:sldMkLst>
        <pc:spChg chg="mod">
          <ac:chgData name="Alana Rivera" userId="S::arg3669@ads.northwestern.edu::fc8b707a-b7e9-4f2a-8d71-2d76819b7881" providerId="AD" clId="Web-{949B942C-4E70-714C-6171-901ED6429352}" dt="2024-01-11T18:51:44.551" v="61" actId="1076"/>
          <ac:spMkLst>
            <pc:docMk/>
            <pc:sldMk cId="1805206964" sldId="811"/>
            <ac:spMk id="2" creationId="{1E79CB01-8D8F-54BE-C7AE-A200EBD655FB}"/>
          </ac:spMkLst>
        </pc:spChg>
        <pc:graphicFrameChg chg="mod modGraphic">
          <ac:chgData name="Alana Rivera" userId="S::arg3669@ads.northwestern.edu::fc8b707a-b7e9-4f2a-8d71-2d76819b7881" providerId="AD" clId="Web-{949B942C-4E70-714C-6171-901ED6429352}" dt="2024-01-11T18:51:45.207" v="62" actId="1076"/>
          <ac:graphicFrameMkLst>
            <pc:docMk/>
            <pc:sldMk cId="1805206964" sldId="811"/>
            <ac:graphicFrameMk id="6" creationId="{3C10FB90-C65D-4456-26E4-25AEC9F1CECF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949B942C-4E70-714C-6171-901ED6429352}" dt="2024-01-11T18:23:49.499" v="9"/>
              <pc2:cmMkLst xmlns:pc2="http://schemas.microsoft.com/office/powerpoint/2019/9/main/command">
                <pc:docMk/>
                <pc:sldMk cId="1805206964" sldId="811"/>
                <pc2:cmMk id="{F6F1F774-6B75-4F45-861F-43B6552345D4}"/>
              </pc2:cmMkLst>
            </pc226:cmChg>
          </p:ext>
        </pc:extLst>
      </pc:sldChg>
      <pc:sldChg chg="delSp modSp">
        <pc:chgData name="Alana Rivera" userId="S::arg3669@ads.northwestern.edu::fc8b707a-b7e9-4f2a-8d71-2d76819b7881" providerId="AD" clId="Web-{949B942C-4E70-714C-6171-901ED6429352}" dt="2024-01-11T18:22:54.109" v="8" actId="1076"/>
        <pc:sldMkLst>
          <pc:docMk/>
          <pc:sldMk cId="2671650935" sldId="814"/>
        </pc:sldMkLst>
        <pc:spChg chg="mod">
          <ac:chgData name="Alana Rivera" userId="S::arg3669@ads.northwestern.edu::fc8b707a-b7e9-4f2a-8d71-2d76819b7881" providerId="AD" clId="Web-{949B942C-4E70-714C-6171-901ED6429352}" dt="2024-01-11T18:22:36.328" v="3" actId="20577"/>
          <ac:spMkLst>
            <pc:docMk/>
            <pc:sldMk cId="2671650935" sldId="814"/>
            <ac:spMk id="4" creationId="{00000000-0000-0000-0000-000000000000}"/>
          </ac:spMkLst>
        </pc:spChg>
        <pc:spChg chg="del">
          <ac:chgData name="Alana Rivera" userId="S::arg3669@ads.northwestern.edu::fc8b707a-b7e9-4f2a-8d71-2d76819b7881" providerId="AD" clId="Web-{949B942C-4E70-714C-6171-901ED6429352}" dt="2024-01-11T18:22:33.437" v="2"/>
          <ac:spMkLst>
            <pc:docMk/>
            <pc:sldMk cId="2671650935" sldId="814"/>
            <ac:spMk id="5" creationId="{00000000-0000-0000-0000-000000000000}"/>
          </ac:spMkLst>
        </pc:spChg>
        <pc:spChg chg="mod">
          <ac:chgData name="Alana Rivera" userId="S::arg3669@ads.northwestern.edu::fc8b707a-b7e9-4f2a-8d71-2d76819b7881" providerId="AD" clId="Web-{949B942C-4E70-714C-6171-901ED6429352}" dt="2024-01-11T18:22:40.578" v="4" actId="1076"/>
          <ac:spMkLst>
            <pc:docMk/>
            <pc:sldMk cId="2671650935" sldId="814"/>
            <ac:spMk id="6" creationId="{2364E342-A98E-4E6A-9ABE-E187A502C24F}"/>
          </ac:spMkLst>
        </pc:spChg>
        <pc:picChg chg="mod">
          <ac:chgData name="Alana Rivera" userId="S::arg3669@ads.northwestern.edu::fc8b707a-b7e9-4f2a-8d71-2d76819b7881" providerId="AD" clId="Web-{949B942C-4E70-714C-6171-901ED6429352}" dt="2024-01-11T18:22:48.218" v="7" actId="1076"/>
          <ac:picMkLst>
            <pc:docMk/>
            <pc:sldMk cId="2671650935" sldId="814"/>
            <ac:picMk id="9" creationId="{B7680CAF-7645-BBD5-9950-24CE6E641F36}"/>
          </ac:picMkLst>
        </pc:picChg>
        <pc:picChg chg="mod">
          <ac:chgData name="Alana Rivera" userId="S::arg3669@ads.northwestern.edu::fc8b707a-b7e9-4f2a-8d71-2d76819b7881" providerId="AD" clId="Web-{949B942C-4E70-714C-6171-901ED6429352}" dt="2024-01-11T18:22:54.109" v="8" actId="1076"/>
          <ac:picMkLst>
            <pc:docMk/>
            <pc:sldMk cId="2671650935" sldId="814"/>
            <ac:picMk id="10" creationId="{87E1CB06-D4B6-034A-6E16-EE92C2DF95C2}"/>
          </ac:picMkLst>
        </pc:picChg>
      </pc:sldChg>
    </pc:docChg>
  </pc:docChgLst>
  <pc:docChgLst>
    <pc:chgData name="Alana Rivera" userId="S::arg3669@ads.northwestern.edu::fc8b707a-b7e9-4f2a-8d71-2d76819b7881" providerId="AD" clId="Web-{C18E79BC-1B4F-7BF7-C626-063B1C34C7E5}"/>
    <pc:docChg chg="modSld">
      <pc:chgData name="Alana Rivera" userId="S::arg3669@ads.northwestern.edu::fc8b707a-b7e9-4f2a-8d71-2d76819b7881" providerId="AD" clId="Web-{C18E79BC-1B4F-7BF7-C626-063B1C34C7E5}" dt="2024-01-12T16:10:10.978" v="8" actId="20577"/>
      <pc:docMkLst>
        <pc:docMk/>
      </pc:docMkLst>
      <pc:sldChg chg="modSp">
        <pc:chgData name="Alana Rivera" userId="S::arg3669@ads.northwestern.edu::fc8b707a-b7e9-4f2a-8d71-2d76819b7881" providerId="AD" clId="Web-{C18E79BC-1B4F-7BF7-C626-063B1C34C7E5}" dt="2024-01-12T16:10:10.978" v="8" actId="20577"/>
        <pc:sldMkLst>
          <pc:docMk/>
          <pc:sldMk cId="1949613945" sldId="776"/>
        </pc:sldMkLst>
        <pc:spChg chg="mod">
          <ac:chgData name="Alana Rivera" userId="S::arg3669@ads.northwestern.edu::fc8b707a-b7e9-4f2a-8d71-2d76819b7881" providerId="AD" clId="Web-{C18E79BC-1B4F-7BF7-C626-063B1C34C7E5}" dt="2024-01-12T16:10:10.978" v="8" actId="20577"/>
          <ac:spMkLst>
            <pc:docMk/>
            <pc:sldMk cId="1949613945" sldId="776"/>
            <ac:spMk id="2" creationId="{2DE9407A-4283-B111-345C-31D89DFF03A2}"/>
          </ac:spMkLst>
        </pc:spChg>
      </pc:sldChg>
    </pc:docChg>
  </pc:docChgLst>
  <pc:docChgLst>
    <pc:chgData name="Eileen Fleming Suse" userId="S::efs3844@ads.northwestern.edu::725c94ef-d051-42d7-9d33-8572765d592b" providerId="AD" clId="Web-{5EEFCC8C-1D9E-F323-6BB2-CED78989AACF}"/>
    <pc:docChg chg="modSld">
      <pc:chgData name="Eileen Fleming Suse" userId="S::efs3844@ads.northwestern.edu::725c94ef-d051-42d7-9d33-8572765d592b" providerId="AD" clId="Web-{5EEFCC8C-1D9E-F323-6BB2-CED78989AACF}" dt="2023-04-14T13:53:22.436" v="3"/>
      <pc:docMkLst>
        <pc:docMk/>
      </pc:docMkLst>
      <pc:sldChg chg="modCm">
        <pc:chgData name="Eileen Fleming Suse" userId="S::efs3844@ads.northwestern.edu::725c94ef-d051-42d7-9d33-8572765d592b" providerId="AD" clId="Web-{5EEFCC8C-1D9E-F323-6BB2-CED78989AACF}" dt="2023-04-14T13:53:22.436" v="3"/>
        <pc:sldMkLst>
          <pc:docMk/>
          <pc:sldMk cId="1127716331" sldId="71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Eileen Fleming Suse" userId="S::efs3844@ads.northwestern.edu::725c94ef-d051-42d7-9d33-8572765d592b" providerId="AD" clId="Web-{5EEFCC8C-1D9E-F323-6BB2-CED78989AACF}" dt="2023-04-14T13:53:22.436" v="3"/>
              <pc2:cmMkLst xmlns:pc2="http://schemas.microsoft.com/office/powerpoint/2019/9/main/command">
                <pc:docMk/>
                <pc:sldMk cId="1127716331" sldId="712"/>
                <pc2:cmMk id="{0BB2D623-6CEF-4191-BEED-8D22A37CEE17}"/>
              </pc2:cmMkLst>
              <pc226:cmRplyChg chg="add">
                <pc226:chgData name="Eileen Fleming Suse" userId="S::efs3844@ads.northwestern.edu::725c94ef-d051-42d7-9d33-8572765d592b" providerId="AD" clId="Web-{5EEFCC8C-1D9E-F323-6BB2-CED78989AACF}" dt="2023-04-14T13:53:22.436" v="3"/>
                <pc2:cmRplyMkLst xmlns:pc2="http://schemas.microsoft.com/office/powerpoint/2019/9/main/command">
                  <pc:docMk/>
                  <pc:sldMk cId="1127716331" sldId="712"/>
                  <pc2:cmMk id="{0BB2D623-6CEF-4191-BEED-8D22A37CEE17}"/>
                  <pc2:cmRplyMk id="{4DA3322D-753B-4376-8F0F-EA753B9023E6}"/>
                </pc2:cmRplyMkLst>
              </pc226:cmRplyChg>
            </pc226:cmChg>
          </p:ext>
        </pc:extLst>
      </pc:sldChg>
      <pc:sldChg chg="modSp modCm">
        <pc:chgData name="Eileen Fleming Suse" userId="S::efs3844@ads.northwestern.edu::725c94ef-d051-42d7-9d33-8572765d592b" providerId="AD" clId="Web-{5EEFCC8C-1D9E-F323-6BB2-CED78989AACF}" dt="2023-04-14T13:52:34.935" v="2" actId="20577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5EEFCC8C-1D9E-F323-6BB2-CED78989AACF}" dt="2023-04-14T13:52:34.935" v="2" actId="20577"/>
          <ac:spMkLst>
            <pc:docMk/>
            <pc:sldMk cId="2905881923" sldId="716"/>
            <ac:spMk id="12" creationId="{264C5A32-C49E-EB9B-26E3-DEB2108A83B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Eileen Fleming Suse" userId="S::efs3844@ads.northwestern.edu::725c94ef-d051-42d7-9d33-8572765d592b" providerId="AD" clId="Web-{5EEFCC8C-1D9E-F323-6BB2-CED78989AACF}" dt="2023-04-14T13:52:29.701" v="1"/>
              <pc2:cmMkLst xmlns:pc2="http://schemas.microsoft.com/office/powerpoint/2019/9/main/command">
                <pc:docMk/>
                <pc:sldMk cId="2905881923" sldId="716"/>
                <pc2:cmMk id="{09A865C3-42D6-4795-8B6E-0A29980C4AD8}"/>
              </pc2:cmMkLst>
              <pc226:cmRplyChg chg="add">
                <pc226:chgData name="Eileen Fleming Suse" userId="S::efs3844@ads.northwestern.edu::725c94ef-d051-42d7-9d33-8572765d592b" providerId="AD" clId="Web-{5EEFCC8C-1D9E-F323-6BB2-CED78989AACF}" dt="2023-04-14T13:52:29.701" v="1"/>
                <pc2:cmRplyMkLst xmlns:pc2="http://schemas.microsoft.com/office/powerpoint/2019/9/main/command">
                  <pc:docMk/>
                  <pc:sldMk cId="2905881923" sldId="716"/>
                  <pc2:cmMk id="{09A865C3-42D6-4795-8B6E-0A29980C4AD8}"/>
                  <pc2:cmRplyMk id="{0ACF0F6A-1C32-403A-AD1B-3AA6811F1DE2}"/>
                </pc2:cmRplyMkLst>
              </pc226:cmRplyChg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4DB8D2D1-D315-67FC-6C5D-740638D3D9F8}"/>
    <pc:docChg chg="modSld">
      <pc:chgData name="Alana Rivera" userId="S::arg3669@ads.northwestern.edu::fc8b707a-b7e9-4f2a-8d71-2d76819b7881" providerId="AD" clId="Web-{4DB8D2D1-D315-67FC-6C5D-740638D3D9F8}" dt="2023-02-10T18:18:52.667" v="0" actId="1076"/>
      <pc:docMkLst>
        <pc:docMk/>
      </pc:docMkLst>
      <pc:sldChg chg="modSp">
        <pc:chgData name="Alana Rivera" userId="S::arg3669@ads.northwestern.edu::fc8b707a-b7e9-4f2a-8d71-2d76819b7881" providerId="AD" clId="Web-{4DB8D2D1-D315-67FC-6C5D-740638D3D9F8}" dt="2023-02-10T18:18:52.667" v="0" actId="1076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4DB8D2D1-D315-67FC-6C5D-740638D3D9F8}" dt="2023-02-10T18:18:52.667" v="0" actId="1076"/>
          <ac:spMkLst>
            <pc:docMk/>
            <pc:sldMk cId="149255822" sldId="700"/>
            <ac:spMk id="6" creationId="{1B118A30-D372-1791-AC9D-F862CEE17DE5}"/>
          </ac:spMkLst>
        </pc:spChg>
      </pc:sldChg>
    </pc:docChg>
  </pc:docChgLst>
  <pc:docChgLst>
    <pc:chgData name="Daniel L Weiss" userId="S::dlw2885@ads.northwestern.edu::9eb720c2-52d8-4896-8792-48826e9f92f5" providerId="AD" clId="Web-{ED01822F-5C06-7CCF-013F-E09CD9BF086D}"/>
    <pc:docChg chg="modSld">
      <pc:chgData name="Daniel L Weiss" userId="S::dlw2885@ads.northwestern.edu::9eb720c2-52d8-4896-8792-48826e9f92f5" providerId="AD" clId="Web-{ED01822F-5C06-7CCF-013F-E09CD9BF086D}" dt="2023-01-23T19:12:06.252" v="90"/>
      <pc:docMkLst>
        <pc:docMk/>
      </pc:docMkLst>
      <pc:sldChg chg="modSp delCm">
        <pc:chgData name="Daniel L Weiss" userId="S::dlw2885@ads.northwestern.edu::9eb720c2-52d8-4896-8792-48826e9f92f5" providerId="AD" clId="Web-{ED01822F-5C06-7CCF-013F-E09CD9BF086D}" dt="2023-01-23T18:58:32.567" v="62"/>
        <pc:sldMkLst>
          <pc:docMk/>
          <pc:sldMk cId="3682438970" sldId="698"/>
        </pc:sldMkLst>
        <pc:spChg chg="mod">
          <ac:chgData name="Daniel L Weiss" userId="S::dlw2885@ads.northwestern.edu::9eb720c2-52d8-4896-8792-48826e9f92f5" providerId="AD" clId="Web-{ED01822F-5C06-7CCF-013F-E09CD9BF086D}" dt="2023-01-23T18:58:25.067" v="61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ED01822F-5C06-7CCF-013F-E09CD9BF086D}" dt="2023-01-23T18:58:32.567" v="62"/>
          <ac:spMkLst>
            <pc:docMk/>
            <pc:sldMk cId="3682438970" sldId="698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ED01822F-5C06-7CCF-013F-E09CD9BF086D}" dt="2023-01-23T18:58:17.473" v="60"/>
              <pc2:cmMkLst xmlns:pc2="http://schemas.microsoft.com/office/powerpoint/2019/9/main/command">
                <pc:docMk/>
                <pc:sldMk cId="3682438970" sldId="698"/>
                <pc2:cmMk id="{B194CE79-C799-4247-9D59-0C88A8BC26BC}"/>
              </pc2:cmMkLst>
            </pc226:cmChg>
          </p:ext>
        </pc:extLst>
      </pc:sldChg>
      <pc:sldChg chg="modSp delCm">
        <pc:chgData name="Daniel L Weiss" userId="S::dlw2885@ads.northwestern.edu::9eb720c2-52d8-4896-8792-48826e9f92f5" providerId="AD" clId="Web-{ED01822F-5C06-7CCF-013F-E09CD9BF086D}" dt="2023-01-23T18:58:47.146" v="64"/>
        <pc:sldMkLst>
          <pc:docMk/>
          <pc:sldMk cId="149255822" sldId="700"/>
        </pc:sldMkLst>
        <pc:spChg chg="mod">
          <ac:chgData name="Daniel L Weiss" userId="S::dlw2885@ads.northwestern.edu::9eb720c2-52d8-4896-8792-48826e9f92f5" providerId="AD" clId="Web-{ED01822F-5C06-7CCF-013F-E09CD9BF086D}" dt="2023-01-23T18:58:47.146" v="64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ED01822F-5C06-7CCF-013F-E09CD9BF086D}" dt="2023-01-23T18:58:41.458" v="63"/>
          <ac:spMkLst>
            <pc:docMk/>
            <pc:sldMk cId="149255822" sldId="700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ED01822F-5C06-7CCF-013F-E09CD9BF086D}" dt="2023-01-23T18:51:09.287" v="40"/>
              <pc2:cmMkLst xmlns:pc2="http://schemas.microsoft.com/office/powerpoint/2019/9/main/command">
                <pc:docMk/>
                <pc:sldMk cId="149255822" sldId="700"/>
                <pc2:cmMk id="{4523359A-730F-4C94-BC5E-8898D7C9CAE7}"/>
              </pc2:cmMkLst>
            </pc226:cmChg>
          </p:ext>
        </pc:extLst>
      </pc:sldChg>
      <pc:sldChg chg="addSp delSp modSp delCm">
        <pc:chgData name="Daniel L Weiss" userId="S::dlw2885@ads.northwestern.edu::9eb720c2-52d8-4896-8792-48826e9f92f5" providerId="AD" clId="Web-{ED01822F-5C06-7CCF-013F-E09CD9BF086D}" dt="2023-01-23T19:12:02.392" v="89"/>
        <pc:sldMkLst>
          <pc:docMk/>
          <pc:sldMk cId="1127716331" sldId="712"/>
        </pc:sldMkLst>
        <pc:spChg chg="mod">
          <ac:chgData name="Daniel L Weiss" userId="S::dlw2885@ads.northwestern.edu::9eb720c2-52d8-4896-8792-48826e9f92f5" providerId="AD" clId="Web-{ED01822F-5C06-7CCF-013F-E09CD9BF086D}" dt="2023-01-23T19:11:23.345" v="85"/>
          <ac:spMkLst>
            <pc:docMk/>
            <pc:sldMk cId="1127716331" sldId="712"/>
            <ac:spMk id="2" creationId="{00000000-0000-0000-0000-000000000000}"/>
          </ac:spMkLst>
        </pc:spChg>
        <pc:spChg chg="add del mod">
          <ac:chgData name="Daniel L Weiss" userId="S::dlw2885@ads.northwestern.edu::9eb720c2-52d8-4896-8792-48826e9f92f5" providerId="AD" clId="Web-{ED01822F-5C06-7CCF-013F-E09CD9BF086D}" dt="2023-01-23T19:11:03.578" v="80"/>
          <ac:spMkLst>
            <pc:docMk/>
            <pc:sldMk cId="1127716331" sldId="712"/>
            <ac:spMk id="6" creationId="{F0440D37-F4F9-8697-0DAB-9581749C58FC}"/>
          </ac:spMkLst>
        </pc:spChg>
        <pc:spChg chg="del">
          <ac:chgData name="Daniel L Weiss" userId="S::dlw2885@ads.northwestern.edu::9eb720c2-52d8-4896-8792-48826e9f92f5" providerId="AD" clId="Web-{ED01822F-5C06-7CCF-013F-E09CD9BF086D}" dt="2023-01-23T19:11:09.250" v="81"/>
          <ac:spMkLst>
            <pc:docMk/>
            <pc:sldMk cId="1127716331" sldId="712"/>
            <ac:spMk id="8" creationId="{2166B345-0952-89B6-35FD-55518E22D1B7}"/>
          </ac:spMkLst>
        </pc:spChg>
        <pc:picChg chg="add mod ord">
          <ac:chgData name="Daniel L Weiss" userId="S::dlw2885@ads.northwestern.edu::9eb720c2-52d8-4896-8792-48826e9f92f5" providerId="AD" clId="Web-{ED01822F-5C06-7CCF-013F-E09CD9BF086D}" dt="2023-01-23T19:11:31.643" v="88" actId="1076"/>
          <ac:picMkLst>
            <pc:docMk/>
            <pc:sldMk cId="1127716331" sldId="712"/>
            <ac:picMk id="7" creationId="{C88C45C0-2AD3-0C80-0192-F63D87103130}"/>
          </ac:picMkLst>
        </pc:picChg>
        <pc:picChg chg="del">
          <ac:chgData name="Daniel L Weiss" userId="S::dlw2885@ads.northwestern.edu::9eb720c2-52d8-4896-8792-48826e9f92f5" providerId="AD" clId="Web-{ED01822F-5C06-7CCF-013F-E09CD9BF086D}" dt="2023-01-23T19:06:35.365" v="79"/>
          <ac:picMkLst>
            <pc:docMk/>
            <pc:sldMk cId="1127716331" sldId="712"/>
            <ac:picMk id="11" creationId="{D4EEFBCD-F3BD-D336-3015-11B877C91593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ED01822F-5C06-7CCF-013F-E09CD9BF086D}" dt="2023-01-23T19:12:02.392" v="89"/>
              <pc2:cmMkLst xmlns:pc2="http://schemas.microsoft.com/office/powerpoint/2019/9/main/command">
                <pc:docMk/>
                <pc:sldMk cId="1127716331" sldId="712"/>
                <pc2:cmMk id="{84E5E094-EB78-45D0-8653-2973CFA2A7BF}"/>
              </pc2:cmMkLst>
            </pc226:cmChg>
          </p:ext>
        </pc:extLst>
      </pc:sldChg>
      <pc:sldChg chg="modSp delCm">
        <pc:chgData name="Daniel L Weiss" userId="S::dlw2885@ads.northwestern.edu::9eb720c2-52d8-4896-8792-48826e9f92f5" providerId="AD" clId="Web-{ED01822F-5C06-7CCF-013F-E09CD9BF086D}" dt="2023-01-23T19:12:06.252" v="90"/>
        <pc:sldMkLst>
          <pc:docMk/>
          <pc:sldMk cId="1886867389" sldId="713"/>
        </pc:sldMkLst>
        <pc:spChg chg="mod">
          <ac:chgData name="Daniel L Weiss" userId="S::dlw2885@ads.northwestern.edu::9eb720c2-52d8-4896-8792-48826e9f92f5" providerId="AD" clId="Web-{ED01822F-5C06-7CCF-013F-E09CD9BF086D}" dt="2023-01-23T19:06:32.068" v="78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ED01822F-5C06-7CCF-013F-E09CD9BF086D}" dt="2023-01-23T19:06:29.412" v="77" actId="20577"/>
          <ac:spMkLst>
            <pc:docMk/>
            <pc:sldMk cId="1886867389" sldId="713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ED01822F-5C06-7CCF-013F-E09CD9BF086D}" dt="2023-01-23T19:12:06.252" v="90"/>
              <pc2:cmMkLst xmlns:pc2="http://schemas.microsoft.com/office/powerpoint/2019/9/main/command">
                <pc:docMk/>
                <pc:sldMk cId="1886867389" sldId="713"/>
                <pc2:cmMk id="{6E9E9D80-A7E8-47C5-9B0A-6B52349DAC46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C9C37F52-FE57-37C6-614A-2540C4B3C484}"/>
    <pc:docChg chg="modSld">
      <pc:chgData name="Alana Rivera" userId="S::arg3669@ads.northwestern.edu::fc8b707a-b7e9-4f2a-8d71-2d76819b7881" providerId="AD" clId="Web-{C9C37F52-FE57-37C6-614A-2540C4B3C484}" dt="2023-03-22T14:58:17.586" v="151"/>
      <pc:docMkLst>
        <pc:docMk/>
      </pc:docMkLst>
      <pc:sldChg chg="delCm">
        <pc:chgData name="Alana Rivera" userId="S::arg3669@ads.northwestern.edu::fc8b707a-b7e9-4f2a-8d71-2d76819b7881" providerId="AD" clId="Web-{C9C37F52-FE57-37C6-614A-2540C4B3C484}" dt="2023-03-22T14:38:32.066" v="1"/>
        <pc:sldMkLst>
          <pc:docMk/>
          <pc:sldMk cId="3589410507" sldId="60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C9C37F52-FE57-37C6-614A-2540C4B3C484}" dt="2023-03-22T14:38:32.066" v="1"/>
              <pc2:cmMkLst xmlns:pc2="http://schemas.microsoft.com/office/powerpoint/2019/9/main/command">
                <pc:docMk/>
                <pc:sldMk cId="3589410507" sldId="600"/>
                <pc2:cmMk id="{C54F3626-57D6-4ED5-A32E-E8741DE85694}"/>
              </pc2:cmMkLst>
            </pc226:cmChg>
          </p:ext>
        </pc:extLst>
      </pc:sldChg>
      <pc:sldChg chg="delCm">
        <pc:chgData name="Alana Rivera" userId="S::arg3669@ads.northwestern.edu::fc8b707a-b7e9-4f2a-8d71-2d76819b7881" providerId="AD" clId="Web-{C9C37F52-FE57-37C6-614A-2540C4B3C484}" dt="2023-03-22T14:57:07.615" v="145"/>
        <pc:sldMkLst>
          <pc:docMk/>
          <pc:sldMk cId="888239619" sldId="6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C9C37F52-FE57-37C6-614A-2540C4B3C484}" dt="2023-03-22T14:57:07.615" v="145"/>
              <pc2:cmMkLst xmlns:pc2="http://schemas.microsoft.com/office/powerpoint/2019/9/main/command">
                <pc:docMk/>
                <pc:sldMk cId="888239619" sldId="632"/>
                <pc2:cmMk id="{ABF980BD-88A4-414C-9017-057DC36E7A8C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C9C37F52-FE57-37C6-614A-2540C4B3C484}" dt="2023-03-22T14:38:05.768" v="0" actId="1076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C9C37F52-FE57-37C6-614A-2540C4B3C484}" dt="2023-03-22T14:38:05.768" v="0" actId="1076"/>
          <ac:spMkLst>
            <pc:docMk/>
            <pc:sldMk cId="196190430" sldId="645"/>
            <ac:spMk id="7" creationId="{E2FF8D45-BFEB-7CA2-6CDA-61B2AF4C1505}"/>
          </ac:spMkLst>
        </pc:spChg>
      </pc:sldChg>
      <pc:sldChg chg="modSp">
        <pc:chgData name="Alana Rivera" userId="S::arg3669@ads.northwestern.edu::fc8b707a-b7e9-4f2a-8d71-2d76819b7881" providerId="AD" clId="Web-{C9C37F52-FE57-37C6-614A-2540C4B3C484}" dt="2023-03-22T14:44:31.452" v="124" actId="20577"/>
        <pc:sldMkLst>
          <pc:docMk/>
          <pc:sldMk cId="1933816182" sldId="653"/>
        </pc:sldMkLst>
        <pc:spChg chg="mod">
          <ac:chgData name="Alana Rivera" userId="S::arg3669@ads.northwestern.edu::fc8b707a-b7e9-4f2a-8d71-2d76819b7881" providerId="AD" clId="Web-{C9C37F52-FE57-37C6-614A-2540C4B3C484}" dt="2023-03-22T14:44:31.452" v="124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modSp">
        <pc:chgData name="Alana Rivera" userId="S::arg3669@ads.northwestern.edu::fc8b707a-b7e9-4f2a-8d71-2d76819b7881" providerId="AD" clId="Web-{C9C37F52-FE57-37C6-614A-2540C4B3C484}" dt="2023-03-22T14:56:42.864" v="144" actId="1076"/>
        <pc:sldMkLst>
          <pc:docMk/>
          <pc:sldMk cId="2179344909" sldId="667"/>
        </pc:sldMkLst>
        <pc:spChg chg="mod">
          <ac:chgData name="Alana Rivera" userId="S::arg3669@ads.northwestern.edu::fc8b707a-b7e9-4f2a-8d71-2d76819b7881" providerId="AD" clId="Web-{C9C37F52-FE57-37C6-614A-2540C4B3C484}" dt="2023-03-22T14:56:42.864" v="144" actId="1076"/>
          <ac:spMkLst>
            <pc:docMk/>
            <pc:sldMk cId="2179344909" sldId="667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C9C37F52-FE57-37C6-614A-2540C4B3C484}" dt="2023-03-22T14:45:07.609" v="127" actId="1076"/>
        <pc:sldMkLst>
          <pc:docMk/>
          <pc:sldMk cId="777408379" sldId="671"/>
        </pc:sldMkLst>
        <pc:spChg chg="mod">
          <ac:chgData name="Alana Rivera" userId="S::arg3669@ads.northwestern.edu::fc8b707a-b7e9-4f2a-8d71-2d76819b7881" providerId="AD" clId="Web-{C9C37F52-FE57-37C6-614A-2540C4B3C484}" dt="2023-03-22T14:45:07.609" v="127" actId="1076"/>
          <ac:spMkLst>
            <pc:docMk/>
            <pc:sldMk cId="777408379" sldId="671"/>
            <ac:spMk id="2" creationId="{8DA65B7D-6357-F0A1-4ACA-818B5F3700C0}"/>
          </ac:spMkLst>
        </pc:spChg>
        <pc:graphicFrameChg chg="mod modGraphic">
          <ac:chgData name="Alana Rivera" userId="S::arg3669@ads.northwestern.edu::fc8b707a-b7e9-4f2a-8d71-2d76819b7881" providerId="AD" clId="Web-{C9C37F52-FE57-37C6-614A-2540C4B3C484}" dt="2023-03-22T14:45:03.593" v="126" actId="1076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addSp delSp modSp">
        <pc:chgData name="Alana Rivera" userId="S::arg3669@ads.northwestern.edu::fc8b707a-b7e9-4f2a-8d71-2d76819b7881" providerId="AD" clId="Web-{C9C37F52-FE57-37C6-614A-2540C4B3C484}" dt="2023-03-22T14:44:03.185" v="117" actId="20577"/>
        <pc:sldMkLst>
          <pc:docMk/>
          <pc:sldMk cId="1618859033" sldId="693"/>
        </pc:sldMkLst>
        <pc:spChg chg="add del">
          <ac:chgData name="Alana Rivera" userId="S::arg3669@ads.northwestern.edu::fc8b707a-b7e9-4f2a-8d71-2d76819b7881" providerId="AD" clId="Web-{C9C37F52-FE57-37C6-614A-2540C4B3C484}" dt="2023-03-22T14:40:36.804" v="15"/>
          <ac:spMkLst>
            <pc:docMk/>
            <pc:sldMk cId="1618859033" sldId="693"/>
            <ac:spMk id="3" creationId="{23D2E980-0C7A-5BC4-09E9-3D2503DFA531}"/>
          </ac:spMkLst>
        </pc:spChg>
        <pc:spChg chg="add mod">
          <ac:chgData name="Alana Rivera" userId="S::arg3669@ads.northwestern.edu::fc8b707a-b7e9-4f2a-8d71-2d76819b7881" providerId="AD" clId="Web-{C9C37F52-FE57-37C6-614A-2540C4B3C484}" dt="2023-03-22T14:44:03.185" v="117" actId="20577"/>
          <ac:spMkLst>
            <pc:docMk/>
            <pc:sldMk cId="1618859033" sldId="693"/>
            <ac:spMk id="7" creationId="{B507C73F-B2D3-5CC3-9FAA-714C09BE3072}"/>
          </ac:spMkLst>
        </pc:spChg>
        <pc:picChg chg="mod">
          <ac:chgData name="Alana Rivera" userId="S::arg3669@ads.northwestern.edu::fc8b707a-b7e9-4f2a-8d71-2d76819b7881" providerId="AD" clId="Web-{C9C37F52-FE57-37C6-614A-2540C4B3C484}" dt="2023-03-22T14:40:27.335" v="13" actId="1076"/>
          <ac:picMkLst>
            <pc:docMk/>
            <pc:sldMk cId="1618859033" sldId="693"/>
            <ac:picMk id="9" creationId="{F5FEF95E-8A79-35EE-7802-6AD0DC55B818}"/>
          </ac:picMkLst>
        </pc:picChg>
      </pc:sldChg>
      <pc:sldChg chg="modSp">
        <pc:chgData name="Alana Rivera" userId="S::arg3669@ads.northwestern.edu::fc8b707a-b7e9-4f2a-8d71-2d76819b7881" providerId="AD" clId="Web-{C9C37F52-FE57-37C6-614A-2540C4B3C484}" dt="2023-03-22T14:46:47.721" v="143" actId="20577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C9C37F52-FE57-37C6-614A-2540C4B3C484}" dt="2023-03-22T14:46:47.721" v="143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ana Rivera" userId="S::arg3669@ads.northwestern.edu::fc8b707a-b7e9-4f2a-8d71-2d76819b7881" providerId="AD" clId="Web-{C9C37F52-FE57-37C6-614A-2540C4B3C484}" dt="2023-03-22T14:46:40.534" v="142" actId="1076"/>
          <ac:spMkLst>
            <pc:docMk/>
            <pc:sldMk cId="3682438970" sldId="698"/>
            <ac:spMk id="7" creationId="{E0DDD91A-F49B-E7FA-F65F-DEF38C972D7B}"/>
          </ac:spMkLst>
        </pc:spChg>
        <pc:picChg chg="mod">
          <ac:chgData name="Alana Rivera" userId="S::arg3669@ads.northwestern.edu::fc8b707a-b7e9-4f2a-8d71-2d76819b7881" providerId="AD" clId="Web-{C9C37F52-FE57-37C6-614A-2540C4B3C484}" dt="2023-03-22T14:46:34.815" v="141" actId="1076"/>
          <ac:picMkLst>
            <pc:docMk/>
            <pc:sldMk cId="3682438970" sldId="698"/>
            <ac:picMk id="8" creationId="{E51EDDD0-61BE-290D-1CC8-6CEE28DB2FD0}"/>
          </ac:picMkLst>
        </pc:picChg>
      </pc:sldChg>
      <pc:sldChg chg="modSp">
        <pc:chgData name="Alana Rivera" userId="S::arg3669@ads.northwestern.edu::fc8b707a-b7e9-4f2a-8d71-2d76819b7881" providerId="AD" clId="Web-{C9C37F52-FE57-37C6-614A-2540C4B3C484}" dt="2023-03-22T14:46:18.549" v="139" actId="20577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C9C37F52-FE57-37C6-614A-2540C4B3C484}" dt="2023-03-22T14:45:51.454" v="133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ana Rivera" userId="S::arg3669@ads.northwestern.edu::fc8b707a-b7e9-4f2a-8d71-2d76819b7881" providerId="AD" clId="Web-{C9C37F52-FE57-37C6-614A-2540C4B3C484}" dt="2023-03-22T14:46:18.549" v="139" actId="20577"/>
          <ac:spMkLst>
            <pc:docMk/>
            <pc:sldMk cId="149255822" sldId="700"/>
            <ac:spMk id="6" creationId="{1B118A30-D372-1791-AC9D-F862CEE17DE5}"/>
          </ac:spMkLst>
        </pc:spChg>
        <pc:picChg chg="mod">
          <ac:chgData name="Alana Rivera" userId="S::arg3669@ads.northwestern.edu::fc8b707a-b7e9-4f2a-8d71-2d76819b7881" providerId="AD" clId="Web-{C9C37F52-FE57-37C6-614A-2540C4B3C484}" dt="2023-03-22T14:45:54.298" v="134" actId="1076"/>
          <ac:picMkLst>
            <pc:docMk/>
            <pc:sldMk cId="149255822" sldId="700"/>
            <ac:picMk id="9" creationId="{CB7B6C7E-057D-FFCA-6E8D-0886B11D8A3D}"/>
          </ac:picMkLst>
        </pc:picChg>
      </pc:sldChg>
      <pc:sldChg chg="delSp">
        <pc:chgData name="Alana Rivera" userId="S::arg3669@ads.northwestern.edu::fc8b707a-b7e9-4f2a-8d71-2d76819b7881" providerId="AD" clId="Web-{C9C37F52-FE57-37C6-614A-2540C4B3C484}" dt="2023-03-22T14:57:58.273" v="150"/>
        <pc:sldMkLst>
          <pc:docMk/>
          <pc:sldMk cId="1127716331" sldId="712"/>
        </pc:sldMkLst>
        <pc:picChg chg="del">
          <ac:chgData name="Alana Rivera" userId="S::arg3669@ads.northwestern.edu::fc8b707a-b7e9-4f2a-8d71-2d76819b7881" providerId="AD" clId="Web-{C9C37F52-FE57-37C6-614A-2540C4B3C484}" dt="2023-03-22T14:57:58.273" v="150"/>
          <ac:picMkLst>
            <pc:docMk/>
            <pc:sldMk cId="1127716331" sldId="712"/>
            <ac:picMk id="3" creationId="{34B99283-E1C2-B96D-2951-3D6429D7C493}"/>
          </ac:picMkLst>
        </pc:picChg>
        <pc:picChg chg="del">
          <ac:chgData name="Alana Rivera" userId="S::arg3669@ads.northwestern.edu::fc8b707a-b7e9-4f2a-8d71-2d76819b7881" providerId="AD" clId="Web-{C9C37F52-FE57-37C6-614A-2540C4B3C484}" dt="2023-03-22T14:57:56.304" v="149"/>
          <ac:picMkLst>
            <pc:docMk/>
            <pc:sldMk cId="1127716331" sldId="712"/>
            <ac:picMk id="6" creationId="{822187AE-FD99-9D88-3152-C7B63776BE90}"/>
          </ac:picMkLst>
        </pc:picChg>
      </pc:sldChg>
      <pc:sldChg chg="modSp">
        <pc:chgData name="Alana Rivera" userId="S::arg3669@ads.northwestern.edu::fc8b707a-b7e9-4f2a-8d71-2d76819b7881" providerId="AD" clId="Web-{C9C37F52-FE57-37C6-614A-2540C4B3C484}" dt="2023-03-22T14:57:33.444" v="148" actId="1076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C9C37F52-FE57-37C6-614A-2540C4B3C484}" dt="2023-03-22T14:57:33.444" v="148" actId="1076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Alana Rivera" userId="S::arg3669@ads.northwestern.edu::fc8b707a-b7e9-4f2a-8d71-2d76819b7881" providerId="AD" clId="Web-{C9C37F52-FE57-37C6-614A-2540C4B3C484}" dt="2023-03-22T14:57:28.912" v="147" actId="1076"/>
          <ac:spMkLst>
            <pc:docMk/>
            <pc:sldMk cId="1886867389" sldId="713"/>
            <ac:spMk id="3" creationId="{1419A524-96F5-A0B2-CACE-F9567471AB2E}"/>
          </ac:spMkLst>
        </pc:spChg>
        <pc:picChg chg="mod">
          <ac:chgData name="Alana Rivera" userId="S::arg3669@ads.northwestern.edu::fc8b707a-b7e9-4f2a-8d71-2d76819b7881" providerId="AD" clId="Web-{C9C37F52-FE57-37C6-614A-2540C4B3C484}" dt="2023-03-22T14:57:20.740" v="146" actId="1076"/>
          <ac:picMkLst>
            <pc:docMk/>
            <pc:sldMk cId="1886867389" sldId="713"/>
            <ac:picMk id="6" creationId="{CE497C0F-D169-C490-0357-EA7E69A20515}"/>
          </ac:picMkLst>
        </pc:picChg>
      </pc:sldChg>
      <pc:sldChg chg="addSp modSp">
        <pc:chgData name="Alana Rivera" userId="S::arg3669@ads.northwestern.edu::fc8b707a-b7e9-4f2a-8d71-2d76819b7881" providerId="AD" clId="Web-{C9C37F52-FE57-37C6-614A-2540C4B3C484}" dt="2023-03-22T14:39:06.114" v="10" actId="1076"/>
        <pc:sldMkLst>
          <pc:docMk/>
          <pc:sldMk cId="2905881923" sldId="716"/>
        </pc:sldMkLst>
        <pc:spChg chg="mod">
          <ac:chgData name="Alana Rivera" userId="S::arg3669@ads.northwestern.edu::fc8b707a-b7e9-4f2a-8d71-2d76819b7881" providerId="AD" clId="Web-{C9C37F52-FE57-37C6-614A-2540C4B3C484}" dt="2023-03-22T14:38:59.067" v="8" actId="20577"/>
          <ac:spMkLst>
            <pc:docMk/>
            <pc:sldMk cId="2905881923" sldId="716"/>
            <ac:spMk id="2" creationId="{16817803-E785-34FC-07CE-0897747A5350}"/>
          </ac:spMkLst>
        </pc:spChg>
        <pc:picChg chg="add mod">
          <ac:chgData name="Alana Rivera" userId="S::arg3669@ads.northwestern.edu::fc8b707a-b7e9-4f2a-8d71-2d76819b7881" providerId="AD" clId="Web-{C9C37F52-FE57-37C6-614A-2540C4B3C484}" dt="2023-03-22T14:39:06.114" v="10" actId="1076"/>
          <ac:picMkLst>
            <pc:docMk/>
            <pc:sldMk cId="2905881923" sldId="716"/>
            <ac:picMk id="3" creationId="{065044A2-EBDA-0AC8-C262-476615DC8261}"/>
          </ac:picMkLst>
        </pc:picChg>
      </pc:sldChg>
      <pc:sldChg chg="modSp">
        <pc:chgData name="Alana Rivera" userId="S::arg3669@ads.northwestern.edu::fc8b707a-b7e9-4f2a-8d71-2d76819b7881" providerId="AD" clId="Web-{C9C37F52-FE57-37C6-614A-2540C4B3C484}" dt="2023-03-22T14:58:17.586" v="151"/>
        <pc:sldMkLst>
          <pc:docMk/>
          <pc:sldMk cId="1102152852" sldId="741"/>
        </pc:sldMkLst>
        <pc:graphicFrameChg chg="modGraphic">
          <ac:chgData name="Alana Rivera" userId="S::arg3669@ads.northwestern.edu::fc8b707a-b7e9-4f2a-8d71-2d76819b7881" providerId="AD" clId="Web-{C9C37F52-FE57-37C6-614A-2540C4B3C484}" dt="2023-03-22T14:58:17.586" v="151"/>
          <ac:graphicFrameMkLst>
            <pc:docMk/>
            <pc:sldMk cId="1102152852" sldId="741"/>
            <ac:graphicFrameMk id="7" creationId="{00000000-0000-0000-0000-000000000000}"/>
          </ac:graphicFrameMkLst>
        </pc:graphicFrameChg>
      </pc:sldChg>
      <pc:sldChg chg="modSp">
        <pc:chgData name="Alana Rivera" userId="S::arg3669@ads.northwestern.edu::fc8b707a-b7e9-4f2a-8d71-2d76819b7881" providerId="AD" clId="Web-{C9C37F52-FE57-37C6-614A-2540C4B3C484}" dt="2023-03-22T14:39:12.302" v="12" actId="20577"/>
        <pc:sldMkLst>
          <pc:docMk/>
          <pc:sldMk cId="590066452" sldId="742"/>
        </pc:sldMkLst>
        <pc:spChg chg="mod">
          <ac:chgData name="Alana Rivera" userId="S::arg3669@ads.northwestern.edu::fc8b707a-b7e9-4f2a-8d71-2d76819b7881" providerId="AD" clId="Web-{C9C37F52-FE57-37C6-614A-2540C4B3C484}" dt="2023-03-22T14:39:12.302" v="12" actId="20577"/>
          <ac:spMkLst>
            <pc:docMk/>
            <pc:sldMk cId="590066452" sldId="742"/>
            <ac:spMk id="2" creationId="{00000000-0000-0000-0000-000000000000}"/>
          </ac:spMkLst>
        </pc:spChg>
      </pc:sldChg>
    </pc:docChg>
  </pc:docChgLst>
  <pc:docChgLst>
    <pc:chgData name="Aleena Lida Surenian" userId="S::als0813@ads.northwestern.edu::e2fd0e4e-6417-49b0-ab16-0ba26a1719f0" providerId="AD" clId="Web-{73527B37-F86F-3F5A-320B-C355BB7BFAE7}"/>
    <pc:docChg chg="delSld modSld">
      <pc:chgData name="Aleena Lida Surenian" userId="S::als0813@ads.northwestern.edu::e2fd0e4e-6417-49b0-ab16-0ba26a1719f0" providerId="AD" clId="Web-{73527B37-F86F-3F5A-320B-C355BB7BFAE7}" dt="2024-02-15T14:42:18.931" v="107"/>
      <pc:docMkLst>
        <pc:docMk/>
      </pc:docMkLst>
      <pc:sldChg chg="modSp modCm">
        <pc:chgData name="Aleena Lida Surenian" userId="S::als0813@ads.northwestern.edu::e2fd0e4e-6417-49b0-ab16-0ba26a1719f0" providerId="AD" clId="Web-{73527B37-F86F-3F5A-320B-C355BB7BFAE7}" dt="2024-02-15T14:42:11.228" v="106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73527B37-F86F-3F5A-320B-C355BB7BFAE7}" dt="2024-02-15T14:42:08.743" v="105" actId="20577"/>
          <ac:spMkLst>
            <pc:docMk/>
            <pc:sldMk cId="3682438970" sldId="698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Aleena Lida Surenian" userId="S::als0813@ads.northwestern.edu::e2fd0e4e-6417-49b0-ab16-0ba26a1719f0" providerId="AD" clId="Web-{73527B37-F86F-3F5A-320B-C355BB7BFAE7}" dt="2024-02-15T14:42:11.228" v="106"/>
              <pc2:cmMkLst xmlns:pc2="http://schemas.microsoft.com/office/powerpoint/2019/9/main/command">
                <pc:docMk/>
                <pc:sldMk cId="3682438970" sldId="698"/>
                <pc2:cmMk id="{150F9455-1A12-4D16-AB1C-6DA912E26C6C}"/>
              </pc2:cmMkLst>
              <pc226:cmRplyChg chg="add">
                <pc226:chgData name="Aleena Lida Surenian" userId="S::als0813@ads.northwestern.edu::e2fd0e4e-6417-49b0-ab16-0ba26a1719f0" providerId="AD" clId="Web-{73527B37-F86F-3F5A-320B-C355BB7BFAE7}" dt="2024-02-15T14:42:11.228" v="106"/>
                <pc2:cmRplyMkLst xmlns:pc2="http://schemas.microsoft.com/office/powerpoint/2019/9/main/command">
                  <pc:docMk/>
                  <pc:sldMk cId="3682438970" sldId="698"/>
                  <pc2:cmMk id="{150F9455-1A12-4D16-AB1C-6DA912E26C6C}"/>
                  <pc2:cmRplyMk id="{9EC9C659-5245-479B-AB95-C019AA663817}"/>
                </pc2:cmRplyMkLst>
              </pc226:cmRplyChg>
            </pc226:cmChg>
          </p:ext>
        </pc:extLst>
      </pc:sldChg>
      <pc:sldChg chg="modSp modCm">
        <pc:chgData name="Aleena Lida Surenian" userId="S::als0813@ads.northwestern.edu::e2fd0e4e-6417-49b0-ab16-0ba26a1719f0" providerId="AD" clId="Web-{73527B37-F86F-3F5A-320B-C355BB7BFAE7}" dt="2024-02-15T14:36:42.996" v="64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73527B37-F86F-3F5A-320B-C355BB7BFAE7}" dt="2024-02-15T14:36:32.699" v="62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73527B37-F86F-3F5A-320B-C355BB7BFAE7}" dt="2024-02-15T14:36:27.074" v="61" actId="20577"/>
          <ac:spMkLst>
            <pc:docMk/>
            <pc:sldMk cId="149255822" sldId="700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73527B37-F86F-3F5A-320B-C355BB7BFAE7}" dt="2024-02-15T14:36:42.996" v="64"/>
              <pc2:cmMkLst xmlns:pc2="http://schemas.microsoft.com/office/powerpoint/2019/9/main/command">
                <pc:docMk/>
                <pc:sldMk cId="149255822" sldId="700"/>
                <pc2:cmMk id="{F00E7238-F5A4-4A04-94AB-F4BB4DE2A10D}"/>
              </pc2:cmMkLst>
              <pc226:cmRplyChg chg="add">
                <pc226:chgData name="Aleena Lida Surenian" userId="S::als0813@ads.northwestern.edu::e2fd0e4e-6417-49b0-ab16-0ba26a1719f0" providerId="AD" clId="Web-{73527B37-F86F-3F5A-320B-C355BB7BFAE7}" dt="2024-02-15T14:36:40.356" v="63"/>
                <pc2:cmRplyMkLst xmlns:pc2="http://schemas.microsoft.com/office/powerpoint/2019/9/main/command">
                  <pc:docMk/>
                  <pc:sldMk cId="149255822" sldId="700"/>
                  <pc2:cmMk id="{F00E7238-F5A4-4A04-94AB-F4BB4DE2A10D}"/>
                  <pc2:cmRplyMk id="{26DDAE62-404F-4452-86B9-87BB727DD851}"/>
                </pc2:cmRplyMkLst>
              </pc226:cmRplyChg>
            </pc226:cmChg>
          </p:ext>
        </pc:extLst>
      </pc:sldChg>
      <pc:sldChg chg="del">
        <pc:chgData name="Aleena Lida Surenian" userId="S::als0813@ads.northwestern.edu::e2fd0e4e-6417-49b0-ab16-0ba26a1719f0" providerId="AD" clId="Web-{73527B37-F86F-3F5A-320B-C355BB7BFAE7}" dt="2024-02-15T14:42:18.931" v="107"/>
        <pc:sldMkLst>
          <pc:docMk/>
          <pc:sldMk cId="3086930882" sldId="817"/>
        </pc:sldMkLst>
      </pc:sldChg>
    </pc:docChg>
  </pc:docChgLst>
  <pc:docChgLst>
    <pc:chgData name="Eileen Fleming Suse" userId="S::efs3844@ads.northwestern.edu::725c94ef-d051-42d7-9d33-8572765d592b" providerId="AD" clId="Web-{472904AE-7508-FEE1-C278-20E6AA84E706}"/>
    <pc:docChg chg="addSld delSld modSld sldOrd">
      <pc:chgData name="Eileen Fleming Suse" userId="S::efs3844@ads.northwestern.edu::725c94ef-d051-42d7-9d33-8572765d592b" providerId="AD" clId="Web-{472904AE-7508-FEE1-C278-20E6AA84E706}" dt="2024-01-12T16:09:02.049" v="524"/>
      <pc:docMkLst>
        <pc:docMk/>
      </pc:docMkLst>
      <pc:sldChg chg="delSp modSp">
        <pc:chgData name="Eileen Fleming Suse" userId="S::efs3844@ads.northwestern.edu::725c94ef-d051-42d7-9d33-8572765d592b" providerId="AD" clId="Web-{472904AE-7508-FEE1-C278-20E6AA84E706}" dt="2024-01-12T16:09:02.049" v="524"/>
        <pc:sldMkLst>
          <pc:docMk/>
          <pc:sldMk cId="2422427631" sldId="755"/>
        </pc:sldMkLst>
        <pc:spChg chg="mod">
          <ac:chgData name="Eileen Fleming Suse" userId="S::efs3844@ads.northwestern.edu::725c94ef-d051-42d7-9d33-8572765d592b" providerId="AD" clId="Web-{472904AE-7508-FEE1-C278-20E6AA84E706}" dt="2024-01-12T16:05:08.574" v="463" actId="20577"/>
          <ac:spMkLst>
            <pc:docMk/>
            <pc:sldMk cId="2422427631" sldId="755"/>
            <ac:spMk id="2" creationId="{875610D5-0922-E3FB-2E32-5E2628A0D3BB}"/>
          </ac:spMkLst>
        </pc:spChg>
        <pc:spChg chg="del mod">
          <ac:chgData name="Eileen Fleming Suse" userId="S::efs3844@ads.northwestern.edu::725c94ef-d051-42d7-9d33-8572765d592b" providerId="AD" clId="Web-{472904AE-7508-FEE1-C278-20E6AA84E706}" dt="2024-01-12T16:07:40.484" v="512"/>
          <ac:spMkLst>
            <pc:docMk/>
            <pc:sldMk cId="2422427631" sldId="755"/>
            <ac:spMk id="3" creationId="{04D59AFA-2B7B-52FE-012C-6A3904500FA0}"/>
          </ac:spMkLst>
        </pc:spChg>
        <pc:graphicFrameChg chg="mod modGraphic">
          <ac:chgData name="Eileen Fleming Suse" userId="S::efs3844@ads.northwestern.edu::725c94ef-d051-42d7-9d33-8572765d592b" providerId="AD" clId="Web-{472904AE-7508-FEE1-C278-20E6AA84E706}" dt="2024-01-12T16:09:02.049" v="524"/>
          <ac:graphicFrameMkLst>
            <pc:docMk/>
            <pc:sldMk cId="2422427631" sldId="755"/>
            <ac:graphicFrameMk id="6" creationId="{3349F207-60F4-234D-4729-00A6824BBB25}"/>
          </ac:graphicFrameMkLst>
        </pc:graphicFrameChg>
      </pc:sldChg>
      <pc:sldChg chg="del">
        <pc:chgData name="Eileen Fleming Suse" userId="S::efs3844@ads.northwestern.edu::725c94ef-d051-42d7-9d33-8572765d592b" providerId="AD" clId="Web-{472904AE-7508-FEE1-C278-20E6AA84E706}" dt="2024-01-11T22:35:31.802" v="103"/>
        <pc:sldMkLst>
          <pc:docMk/>
          <pc:sldMk cId="2788730445" sldId="762"/>
        </pc:sldMkLst>
      </pc:sldChg>
      <pc:sldChg chg="modSp del">
        <pc:chgData name="Eileen Fleming Suse" userId="S::efs3844@ads.northwestern.edu::725c94ef-d051-42d7-9d33-8572765d592b" providerId="AD" clId="Web-{472904AE-7508-FEE1-C278-20E6AA84E706}" dt="2024-01-11T22:36:51.743" v="119"/>
        <pc:sldMkLst>
          <pc:docMk/>
          <pc:sldMk cId="2781709529" sldId="763"/>
        </pc:sldMkLst>
        <pc:spChg chg="mod">
          <ac:chgData name="Eileen Fleming Suse" userId="S::efs3844@ads.northwestern.edu::725c94ef-d051-42d7-9d33-8572765d592b" providerId="AD" clId="Web-{472904AE-7508-FEE1-C278-20E6AA84E706}" dt="2024-01-11T22:36:12.507" v="108" actId="20577"/>
          <ac:spMkLst>
            <pc:docMk/>
            <pc:sldMk cId="2781709529" sldId="763"/>
            <ac:spMk id="2" creationId="{8A023ED1-C5D4-454D-CFCB-7FDFE0EBB831}"/>
          </ac:spMkLst>
        </pc:spChg>
      </pc:sldChg>
      <pc:sldChg chg="del">
        <pc:chgData name="Eileen Fleming Suse" userId="S::efs3844@ads.northwestern.edu::725c94ef-d051-42d7-9d33-8572765d592b" providerId="AD" clId="Web-{472904AE-7508-FEE1-C278-20E6AA84E706}" dt="2024-01-11T22:33:48.408" v="84"/>
        <pc:sldMkLst>
          <pc:docMk/>
          <pc:sldMk cId="3296571419" sldId="764"/>
        </pc:sldMkLst>
      </pc:sldChg>
      <pc:sldChg chg="modSp modCm">
        <pc:chgData name="Eileen Fleming Suse" userId="S::efs3844@ads.northwestern.edu::725c94ef-d051-42d7-9d33-8572765d592b" providerId="AD" clId="Web-{472904AE-7508-FEE1-C278-20E6AA84E706}" dt="2024-01-11T22:31:44.153" v="83" actId="1076"/>
        <pc:sldMkLst>
          <pc:docMk/>
          <pc:sldMk cId="1805206964" sldId="811"/>
        </pc:sldMkLst>
        <pc:spChg chg="mod">
          <ac:chgData name="Eileen Fleming Suse" userId="S::efs3844@ads.northwestern.edu::725c94ef-d051-42d7-9d33-8572765d592b" providerId="AD" clId="Web-{472904AE-7508-FEE1-C278-20E6AA84E706}" dt="2024-01-11T22:31:44.153" v="83" actId="1076"/>
          <ac:spMkLst>
            <pc:docMk/>
            <pc:sldMk cId="1805206964" sldId="811"/>
            <ac:spMk id="2" creationId="{1E79CB01-8D8F-54BE-C7AE-A200EBD655FB}"/>
          </ac:spMkLst>
        </pc:spChg>
        <pc:graphicFrameChg chg="mod modGraphic">
          <ac:chgData name="Eileen Fleming Suse" userId="S::efs3844@ads.northwestern.edu::725c94ef-d051-42d7-9d33-8572765d592b" providerId="AD" clId="Web-{472904AE-7508-FEE1-C278-20E6AA84E706}" dt="2024-01-11T22:31:37.200" v="82"/>
          <ac:graphicFrameMkLst>
            <pc:docMk/>
            <pc:sldMk cId="1805206964" sldId="811"/>
            <ac:graphicFrameMk id="6" creationId="{3C10FB90-C65D-4456-26E4-25AEC9F1CECF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Eileen Fleming Suse" userId="S::efs3844@ads.northwestern.edu::725c94ef-d051-42d7-9d33-8572765d592b" providerId="AD" clId="Web-{472904AE-7508-FEE1-C278-20E6AA84E706}" dt="2024-01-11T22:29:15.460" v="0"/>
              <pc2:cmMkLst xmlns:pc2="http://schemas.microsoft.com/office/powerpoint/2019/9/main/command">
                <pc:docMk/>
                <pc:sldMk cId="1805206964" sldId="811"/>
                <pc2:cmMk id="{F6F1F774-6B75-4F45-861F-43B6552345D4}"/>
              </pc2:cmMkLst>
              <pc226:cmRplyChg chg="add">
                <pc226:chgData name="Eileen Fleming Suse" userId="S::efs3844@ads.northwestern.edu::725c94ef-d051-42d7-9d33-8572765d592b" providerId="AD" clId="Web-{472904AE-7508-FEE1-C278-20E6AA84E706}" dt="2024-01-11T22:29:15.460" v="0"/>
                <pc2:cmRplyMkLst xmlns:pc2="http://schemas.microsoft.com/office/powerpoint/2019/9/main/command">
                  <pc:docMk/>
                  <pc:sldMk cId="1805206964" sldId="811"/>
                  <pc2:cmMk id="{F6F1F774-6B75-4F45-861F-43B6552345D4}"/>
                  <pc2:cmRplyMk id="{C6A7C54E-671C-405C-AE19-2E8812D26F7C}"/>
                </pc2:cmRplyMkLst>
              </pc226:cmRplyChg>
            </pc226:cmChg>
          </p:ext>
        </pc:extLst>
      </pc:sldChg>
      <pc:sldChg chg="addSp delSp modSp new ord">
        <pc:chgData name="Eileen Fleming Suse" userId="S::efs3844@ads.northwestern.edu::725c94ef-d051-42d7-9d33-8572765d592b" providerId="AD" clId="Web-{472904AE-7508-FEE1-C278-20E6AA84E706}" dt="2024-01-11T22:43:14.022" v="452"/>
        <pc:sldMkLst>
          <pc:docMk/>
          <pc:sldMk cId="3115518755" sldId="823"/>
        </pc:sldMkLst>
        <pc:spChg chg="mod">
          <ac:chgData name="Eileen Fleming Suse" userId="S::efs3844@ads.northwestern.edu::725c94ef-d051-42d7-9d33-8572765d592b" providerId="AD" clId="Web-{472904AE-7508-FEE1-C278-20E6AA84E706}" dt="2024-01-11T22:35:24.271" v="102" actId="20577"/>
          <ac:spMkLst>
            <pc:docMk/>
            <pc:sldMk cId="3115518755" sldId="823"/>
            <ac:spMk id="2" creationId="{15BB63CD-05AB-A1ED-6A96-4EC7B74F1C8F}"/>
          </ac:spMkLst>
        </pc:spChg>
        <pc:spChg chg="del">
          <ac:chgData name="Eileen Fleming Suse" userId="S::efs3844@ads.northwestern.edu::725c94ef-d051-42d7-9d33-8572765d592b" providerId="AD" clId="Web-{472904AE-7508-FEE1-C278-20E6AA84E706}" dt="2024-01-11T22:34:59.754" v="86"/>
          <ac:spMkLst>
            <pc:docMk/>
            <pc:sldMk cId="3115518755" sldId="823"/>
            <ac:spMk id="3" creationId="{9BF0854D-8178-9C5B-9CAD-B5A242225AA2}"/>
          </ac:spMkLst>
        </pc:spChg>
        <pc:picChg chg="add mod ord">
          <ac:chgData name="Eileen Fleming Suse" userId="S::efs3844@ads.northwestern.edu::725c94ef-d051-42d7-9d33-8572765d592b" providerId="AD" clId="Web-{472904AE-7508-FEE1-C278-20E6AA84E706}" dt="2024-01-11T22:35:02.020" v="87" actId="1076"/>
          <ac:picMkLst>
            <pc:docMk/>
            <pc:sldMk cId="3115518755" sldId="823"/>
            <ac:picMk id="6" creationId="{D4F4AD07-0B37-1DEB-0A3A-6FB1329C7368}"/>
          </ac:picMkLst>
        </pc:picChg>
      </pc:sldChg>
      <pc:sldChg chg="addSp delSp modSp new ord modNotes">
        <pc:chgData name="Eileen Fleming Suse" userId="S::efs3844@ads.northwestern.edu::725c94ef-d051-42d7-9d33-8572765d592b" providerId="AD" clId="Web-{472904AE-7508-FEE1-C278-20E6AA84E706}" dt="2024-01-11T22:42:58.287" v="450"/>
        <pc:sldMkLst>
          <pc:docMk/>
          <pc:sldMk cId="1112372070" sldId="824"/>
        </pc:sldMkLst>
        <pc:spChg chg="mod">
          <ac:chgData name="Eileen Fleming Suse" userId="S::efs3844@ads.northwestern.edu::725c94ef-d051-42d7-9d33-8572765d592b" providerId="AD" clId="Web-{472904AE-7508-FEE1-C278-20E6AA84E706}" dt="2024-01-11T22:36:49.227" v="118" actId="20577"/>
          <ac:spMkLst>
            <pc:docMk/>
            <pc:sldMk cId="1112372070" sldId="824"/>
            <ac:spMk id="2" creationId="{3FB4878F-0400-AE7C-3EEE-62994307E9E4}"/>
          </ac:spMkLst>
        </pc:spChg>
        <pc:spChg chg="del">
          <ac:chgData name="Eileen Fleming Suse" userId="S::efs3844@ads.northwestern.edu::725c94ef-d051-42d7-9d33-8572765d592b" providerId="AD" clId="Web-{472904AE-7508-FEE1-C278-20E6AA84E706}" dt="2024-01-11T22:37:08.899" v="120"/>
          <ac:spMkLst>
            <pc:docMk/>
            <pc:sldMk cId="1112372070" sldId="824"/>
            <ac:spMk id="3" creationId="{15FFE6BC-CA3C-A67C-D393-0584DA86E447}"/>
          </ac:spMkLst>
        </pc:spChg>
        <pc:graphicFrameChg chg="add mod ord modGraphic">
          <ac:chgData name="Eileen Fleming Suse" userId="S::efs3844@ads.northwestern.edu::725c94ef-d051-42d7-9d33-8572765d592b" providerId="AD" clId="Web-{472904AE-7508-FEE1-C278-20E6AA84E706}" dt="2024-01-11T22:42:48.427" v="449"/>
          <ac:graphicFrameMkLst>
            <pc:docMk/>
            <pc:sldMk cId="1112372070" sldId="824"/>
            <ac:graphicFrameMk id="6" creationId="{CA77166E-2DEA-18B6-9D40-352B79C31291}"/>
          </ac:graphicFrameMkLst>
        </pc:graphicFrameChg>
        <pc:graphicFrameChg chg="add del mod modGraphic">
          <ac:chgData name="Eileen Fleming Suse" userId="S::efs3844@ads.northwestern.edu::725c94ef-d051-42d7-9d33-8572765d592b" providerId="AD" clId="Web-{472904AE-7508-FEE1-C278-20E6AA84E706}" dt="2024-01-11T22:41:47.707" v="394"/>
          <ac:graphicFrameMkLst>
            <pc:docMk/>
            <pc:sldMk cId="1112372070" sldId="824"/>
            <ac:graphicFrameMk id="8" creationId="{DE399CC2-B78C-1043-E896-886C15159875}"/>
          </ac:graphicFrameMkLst>
        </pc:graphicFrameChg>
      </pc:sldChg>
    </pc:docChg>
  </pc:docChgLst>
  <pc:docChgLst>
    <pc:chgData name="Alana Rivera" userId="S::arg3669@ads.northwestern.edu::fc8b707a-b7e9-4f2a-8d71-2d76819b7881" providerId="AD" clId="Web-{0236542B-F317-CB13-798F-9BBD91660199}"/>
    <pc:docChg chg="addSld delSld modSld modMainMaster">
      <pc:chgData name="Alana Rivera" userId="S::arg3669@ads.northwestern.edu::fc8b707a-b7e9-4f2a-8d71-2d76819b7881" providerId="AD" clId="Web-{0236542B-F317-CB13-798F-9BBD91660199}" dt="2023-01-09T20:56:31.895" v="40" actId="1076"/>
      <pc:docMkLst>
        <pc:docMk/>
      </pc:docMkLst>
      <pc:sldChg chg="delSp modSp add del">
        <pc:chgData name="Alana Rivera" userId="S::arg3669@ads.northwestern.edu::fc8b707a-b7e9-4f2a-8d71-2d76819b7881" providerId="AD" clId="Web-{0236542B-F317-CB13-798F-9BBD91660199}" dt="2023-01-09T20:51:44.201" v="5" actId="1076"/>
        <pc:sldMkLst>
          <pc:docMk/>
          <pc:sldMk cId="89077294" sldId="629"/>
        </pc:sldMkLst>
        <pc:spChg chg="del">
          <ac:chgData name="Alana Rivera" userId="S::arg3669@ads.northwestern.edu::fc8b707a-b7e9-4f2a-8d71-2d76819b7881" providerId="AD" clId="Web-{0236542B-F317-CB13-798F-9BBD91660199}" dt="2023-01-09T20:51:26.560" v="3"/>
          <ac:spMkLst>
            <pc:docMk/>
            <pc:sldMk cId="89077294" sldId="629"/>
            <ac:spMk id="20" creationId="{00000000-0000-0000-0000-000000000000}"/>
          </ac:spMkLst>
        </pc:spChg>
        <pc:spChg chg="mod">
          <ac:chgData name="Alana Rivera" userId="S::arg3669@ads.northwestern.edu::fc8b707a-b7e9-4f2a-8d71-2d76819b7881" providerId="AD" clId="Web-{0236542B-F317-CB13-798F-9BBD91660199}" dt="2023-01-09T20:51:44.201" v="5" actId="1076"/>
          <ac:spMkLst>
            <pc:docMk/>
            <pc:sldMk cId="89077294" sldId="629"/>
            <ac:spMk id="22" creationId="{00000000-0000-0000-0000-000000000000}"/>
          </ac:spMkLst>
        </pc:spChg>
        <pc:picChg chg="del">
          <ac:chgData name="Alana Rivera" userId="S::arg3669@ads.northwestern.edu::fc8b707a-b7e9-4f2a-8d71-2d76819b7881" providerId="AD" clId="Web-{0236542B-F317-CB13-798F-9BBD91660199}" dt="2023-01-09T20:51:24.357" v="2"/>
          <ac:picMkLst>
            <pc:docMk/>
            <pc:sldMk cId="89077294" sldId="629"/>
            <ac:picMk id="3" creationId="{00000000-0000-0000-0000-000000000000}"/>
          </ac:picMkLst>
        </pc:picChg>
        <pc:picChg chg="mod">
          <ac:chgData name="Alana Rivera" userId="S::arg3669@ads.northwestern.edu::fc8b707a-b7e9-4f2a-8d71-2d76819b7881" providerId="AD" clId="Web-{0236542B-F317-CB13-798F-9BBD91660199}" dt="2023-01-09T20:51:36.795" v="4" actId="1076"/>
          <ac:picMkLst>
            <pc:docMk/>
            <pc:sldMk cId="89077294" sldId="629"/>
            <ac:picMk id="6" creationId="{00000000-0000-0000-0000-000000000000}"/>
          </ac:picMkLst>
        </pc:picChg>
      </pc:sldChg>
      <pc:sldChg chg="modSp">
        <pc:chgData name="Alana Rivera" userId="S::arg3669@ads.northwestern.edu::fc8b707a-b7e9-4f2a-8d71-2d76819b7881" providerId="AD" clId="Web-{0236542B-F317-CB13-798F-9BBD91660199}" dt="2023-01-09T20:52:12.139" v="6" actId="20577"/>
        <pc:sldMkLst>
          <pc:docMk/>
          <pc:sldMk cId="1545652074" sldId="634"/>
        </pc:sldMkLst>
        <pc:spChg chg="mod">
          <ac:chgData name="Alana Rivera" userId="S::arg3669@ads.northwestern.edu::fc8b707a-b7e9-4f2a-8d71-2d76819b7881" providerId="AD" clId="Web-{0236542B-F317-CB13-798F-9BBD91660199}" dt="2023-01-09T20:52:12.139" v="6" actId="20577"/>
          <ac:spMkLst>
            <pc:docMk/>
            <pc:sldMk cId="1545652074" sldId="634"/>
            <ac:spMk id="2" creationId="{B683E9F5-F8A9-0882-83EB-15117122A99C}"/>
          </ac:spMkLst>
        </pc:spChg>
      </pc:sldChg>
      <pc:sldChg chg="addSp modSp add">
        <pc:chgData name="Alana Rivera" userId="S::arg3669@ads.northwestern.edu::fc8b707a-b7e9-4f2a-8d71-2d76819b7881" providerId="AD" clId="Web-{0236542B-F317-CB13-798F-9BBD91660199}" dt="2023-01-09T20:56:31.895" v="40" actId="1076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0236542B-F317-CB13-798F-9BBD91660199}" dt="2023-01-09T20:56:31.895" v="40" actId="1076"/>
          <ac:spMkLst>
            <pc:docMk/>
            <pc:sldMk cId="196190430" sldId="645"/>
            <ac:spMk id="3" creationId="{1D742501-F937-8041-84E5-748F96AE991B}"/>
          </ac:spMkLst>
        </pc:spChg>
        <pc:spChg chg="mod">
          <ac:chgData name="Alana Rivera" userId="S::arg3669@ads.northwestern.edu::fc8b707a-b7e9-4f2a-8d71-2d76819b7881" providerId="AD" clId="Web-{0236542B-F317-CB13-798F-9BBD91660199}" dt="2023-01-09T20:56:17.551" v="36" actId="20577"/>
          <ac:spMkLst>
            <pc:docMk/>
            <pc:sldMk cId="196190430" sldId="645"/>
            <ac:spMk id="4" creationId="{19922563-64D6-2A4E-B048-13AC25DB45AD}"/>
          </ac:spMkLst>
        </pc:spChg>
        <pc:spChg chg="add mod">
          <ac:chgData name="Alana Rivera" userId="S::arg3669@ads.northwestern.edu::fc8b707a-b7e9-4f2a-8d71-2d76819b7881" providerId="AD" clId="Web-{0236542B-F317-CB13-798F-9BBD91660199}" dt="2023-01-09T20:56:25.926" v="39" actId="14100"/>
          <ac:spMkLst>
            <pc:docMk/>
            <pc:sldMk cId="196190430" sldId="645"/>
            <ac:spMk id="6" creationId="{A339B88B-4F92-8E31-62DD-F058C205BFBD}"/>
          </ac:spMkLst>
        </pc:spChg>
      </pc:sldChg>
      <pc:sldMasterChg chg="modSldLayout">
        <pc:chgData name="Alana Rivera" userId="S::arg3669@ads.northwestern.edu::fc8b707a-b7e9-4f2a-8d71-2d76819b7881" providerId="AD" clId="Web-{0236542B-F317-CB13-798F-9BBD91660199}" dt="2023-01-09T20:53:12.438" v="7"/>
        <pc:sldMasterMkLst>
          <pc:docMk/>
          <pc:sldMasterMk cId="0" sldId="2147483648"/>
        </pc:sldMasterMkLst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0" sldId="2147483648"/>
            <pc:sldLayoutMk cId="0" sldId="2147484324"/>
          </pc:sldLayoutMkLst>
        </pc:sldLayoutChg>
      </pc:sldMasterChg>
      <pc:sldMasterChg chg="modSldLayout">
        <pc:chgData name="Alana Rivera" userId="S::arg3669@ads.northwestern.edu::fc8b707a-b7e9-4f2a-8d71-2d76819b7881" providerId="AD" clId="Web-{0236542B-F317-CB13-798F-9BBD91660199}" dt="2023-01-09T20:53:12.438" v="7"/>
        <pc:sldMasterMkLst>
          <pc:docMk/>
          <pc:sldMasterMk cId="3510105812" sldId="2147483702"/>
        </pc:sldMasterMkLst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2296648849" sldId="2147484322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1293094635" sldId="2147484323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901623397" sldId="2147484325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2758769110" sldId="2147484326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3477441507" sldId="2147484327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10105812" sldId="2147483702"/>
            <pc:sldLayoutMk cId="2678785427" sldId="2147484328"/>
          </pc:sldLayoutMkLst>
        </pc:sldLayoutChg>
      </pc:sldMasterChg>
      <pc:sldMasterChg chg="addSldLayout modSldLayout">
        <pc:chgData name="Alana Rivera" userId="S::arg3669@ads.northwestern.edu::fc8b707a-b7e9-4f2a-8d71-2d76819b7881" providerId="AD" clId="Web-{0236542B-F317-CB13-798F-9BBD91660199}" dt="2023-01-09T20:53:12.438" v="7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366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9320368" sldId="214748367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10496501" sldId="214748367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10130633" sldId="214748367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98059872" sldId="214748367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371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371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371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371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371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371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372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372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373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373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5532739" sldId="214748373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374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9320368" sldId="214748375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58542806" sldId="214748376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967421487" sldId="214748376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83143663" sldId="214748376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220637423" sldId="214748377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10496501" sldId="214748377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10130633" sldId="214748377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610812348" sldId="214748385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20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20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20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20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20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20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20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421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377496322" sldId="214748422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422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422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546532180" sldId="214748422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422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423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423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23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423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423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24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26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26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26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26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437652033" sldId="214748426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732483557" sldId="214748427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4103439267" sldId="214748427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847879164" sldId="214748427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9302691" sldId="214748427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435420318" sldId="214748427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65852557" sldId="214748427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26228292" sldId="214748427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138240366" sldId="214748427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27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27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28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28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28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28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28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28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28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28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629644005" sldId="214748428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9320368" sldId="214748428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10496501" sldId="214748429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10130633" sldId="214748429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98059872" sldId="214748429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9320368" sldId="214748429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10496501" sldId="214748429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10130633" sldId="214748429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98059872" sldId="214748429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429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29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29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30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30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30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430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430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30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30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30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30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30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31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31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4312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955834463" sldId="2147484313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74414858" sldId="2147484314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269164570" sldId="2147484315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384921487" sldId="214748432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9320368" sldId="214748432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10496501" sldId="214748433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10130633" sldId="214748433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98059872" sldId="214748433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630801759" sldId="2147484335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709868767" sldId="214748433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98157548" sldId="2147484337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80529727" sldId="2147484338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91337409" sldId="214748433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75216660" sldId="214748434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476272431" sldId="214748434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434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80140117" sldId="214748434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059781530" sldId="214748434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377496322" sldId="214748434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698059872" sldId="2147484349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402549073" sldId="2147484350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253572214" sldId="2147484351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939295337" sldId="2147484352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3069300124" sldId="2147488143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855494103" sldId="2147488144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803572776" sldId="2147488166"/>
          </pc:sldLayoutMkLst>
        </pc:sldLayoutChg>
        <pc:sldLayoutChg chg="ad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989504779" sldId="2147483734"/>
            <pc:sldLayoutMk cId="1339690513" sldId="2147488167"/>
          </pc:sldLayoutMkLst>
        </pc:sldLayoutChg>
      </pc:sldMasterChg>
      <pc:sldMasterChg chg="modSldLayout">
        <pc:chgData name="Alana Rivera" userId="S::arg3669@ads.northwestern.edu::fc8b707a-b7e9-4f2a-8d71-2d76819b7881" providerId="AD" clId="Web-{0236542B-F317-CB13-798F-9BBD91660199}" dt="2023-01-09T20:53:12.438" v="7"/>
        <pc:sldMasterMkLst>
          <pc:docMk/>
          <pc:sldMasterMk cId="1343456506" sldId="2147483761"/>
        </pc:sldMasterMkLst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1805026706" sldId="2147484316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3943977357" sldId="2147484317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281417143" sldId="2147484318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2136448147" sldId="2147484319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1660937734" sldId="2147484321"/>
          </pc:sldLayoutMkLst>
        </pc:sldLayoutChg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1343456506" sldId="2147483761"/>
            <pc:sldLayoutMk cId="1365235160" sldId="2147484334"/>
          </pc:sldLayoutMkLst>
        </pc:sldLayoutChg>
      </pc:sldMasterChg>
      <pc:sldMasterChg chg="modSldLayout">
        <pc:chgData name="Alana Rivera" userId="S::arg3669@ads.northwestern.edu::fc8b707a-b7e9-4f2a-8d71-2d76819b7881" providerId="AD" clId="Web-{0236542B-F317-CB13-798F-9BBD91660199}" dt="2023-01-09T20:53:12.438" v="7"/>
        <pc:sldMasterMkLst>
          <pc:docMk/>
          <pc:sldMasterMk cId="3522102921" sldId="2147488151"/>
        </pc:sldMasterMkLst>
        <pc:sldLayoutChg chg="replId">
          <pc:chgData name="Alana Rivera" userId="S::arg3669@ads.northwestern.edu::fc8b707a-b7e9-4f2a-8d71-2d76819b7881" providerId="AD" clId="Web-{0236542B-F317-CB13-798F-9BBD91660199}" dt="2023-01-09T20:53:12.438" v="7"/>
          <pc:sldLayoutMkLst>
            <pc:docMk/>
            <pc:sldMasterMk cId="3522102921" sldId="2147488151"/>
            <pc:sldLayoutMk cId="242608569" sldId="2147484333"/>
          </pc:sldLayoutMkLst>
        </pc:sldLayoutChg>
      </pc:sldMasterChg>
    </pc:docChg>
  </pc:docChgLst>
  <pc:docChgLst>
    <pc:chgData name="Eileen Fleming Suse" userId="S::efs3844@ads.northwestern.edu::725c94ef-d051-42d7-9d33-8572765d592b" providerId="AD" clId="Web-{49463B51-8B30-5B56-9CEA-3A883AC3380B}"/>
    <pc:docChg chg="delSld modSld">
      <pc:chgData name="Eileen Fleming Suse" userId="S::efs3844@ads.northwestern.edu::725c94ef-d051-42d7-9d33-8572765d592b" providerId="AD" clId="Web-{49463B51-8B30-5B56-9CEA-3A883AC3380B}" dt="2023-01-23T17:42:33.139" v="53"/>
      <pc:docMkLst>
        <pc:docMk/>
      </pc:docMkLst>
      <pc:sldChg chg="del">
        <pc:chgData name="Eileen Fleming Suse" userId="S::efs3844@ads.northwestern.edu::725c94ef-d051-42d7-9d33-8572765d592b" providerId="AD" clId="Web-{49463B51-8B30-5B56-9CEA-3A883AC3380B}" dt="2023-01-23T17:40:46.886" v="49"/>
        <pc:sldMkLst>
          <pc:docMk/>
          <pc:sldMk cId="1397292280" sldId="619"/>
        </pc:sldMkLst>
      </pc:sldChg>
      <pc:sldChg chg="addSp delSp modSp">
        <pc:chgData name="Eileen Fleming Suse" userId="S::efs3844@ads.northwestern.edu::725c94ef-d051-42d7-9d33-8572765d592b" providerId="AD" clId="Web-{49463B51-8B30-5B56-9CEA-3A883AC3380B}" dt="2023-01-23T17:39:55.197" v="47" actId="14100"/>
        <pc:sldMkLst>
          <pc:docMk/>
          <pc:sldMk cId="2880533216" sldId="654"/>
        </pc:sldMkLst>
        <pc:spChg chg="mod">
          <ac:chgData name="Eileen Fleming Suse" userId="S::efs3844@ads.northwestern.edu::725c94ef-d051-42d7-9d33-8572765d592b" providerId="AD" clId="Web-{49463B51-8B30-5B56-9CEA-3A883AC3380B}" dt="2023-01-23T16:49:57.750" v="17"/>
          <ac:spMkLst>
            <pc:docMk/>
            <pc:sldMk cId="2880533216" sldId="654"/>
            <ac:spMk id="2" creationId="{16817803-E785-34FC-07CE-0897747A5350}"/>
          </ac:spMkLst>
        </pc:spChg>
        <pc:spChg chg="mod">
          <ac:chgData name="Eileen Fleming Suse" userId="S::efs3844@ads.northwestern.edu::725c94ef-d051-42d7-9d33-8572765d592b" providerId="AD" clId="Web-{49463B51-8B30-5B56-9CEA-3A883AC3380B}" dt="2023-01-23T16:49:29.249" v="13" actId="20577"/>
          <ac:spMkLst>
            <pc:docMk/>
            <pc:sldMk cId="2880533216" sldId="654"/>
            <ac:spMk id="8" creationId="{0CBD5B2B-03FF-8543-39C9-CCD1C8E80C65}"/>
          </ac:spMkLst>
        </pc:spChg>
        <pc:spChg chg="add del mod">
          <ac:chgData name="Eileen Fleming Suse" userId="S::efs3844@ads.northwestern.edu::725c94ef-d051-42d7-9d33-8572765d592b" providerId="AD" clId="Web-{49463B51-8B30-5B56-9CEA-3A883AC3380B}" dt="2023-01-23T16:48:01.418" v="1"/>
          <ac:spMkLst>
            <pc:docMk/>
            <pc:sldMk cId="2880533216" sldId="654"/>
            <ac:spMk id="9" creationId="{6458C1BF-6408-C4CD-ED58-75179E22F58D}"/>
          </ac:spMkLst>
        </pc:spChg>
        <pc:spChg chg="add mod">
          <ac:chgData name="Eileen Fleming Suse" userId="S::efs3844@ads.northwestern.edu::725c94ef-d051-42d7-9d33-8572765d592b" providerId="AD" clId="Web-{49463B51-8B30-5B56-9CEA-3A883AC3380B}" dt="2023-01-23T17:39:51.541" v="46" actId="1076"/>
          <ac:spMkLst>
            <pc:docMk/>
            <pc:sldMk cId="2880533216" sldId="654"/>
            <ac:spMk id="11" creationId="{EBE5A79F-94B2-2B77-6A66-47A0636E788D}"/>
          </ac:spMkLst>
        </pc:spChg>
        <pc:spChg chg="add mod">
          <ac:chgData name="Eileen Fleming Suse" userId="S::efs3844@ads.northwestern.edu::725c94ef-d051-42d7-9d33-8572765d592b" providerId="AD" clId="Web-{49463B51-8B30-5B56-9CEA-3A883AC3380B}" dt="2023-01-23T17:39:48.150" v="45" actId="1076"/>
          <ac:spMkLst>
            <pc:docMk/>
            <pc:sldMk cId="2880533216" sldId="654"/>
            <ac:spMk id="12" creationId="{264C5A32-C49E-EB9B-26E3-DEB2108A83B8}"/>
          </ac:spMkLst>
        </pc:spChg>
        <pc:picChg chg="del">
          <ac:chgData name="Eileen Fleming Suse" userId="S::efs3844@ads.northwestern.edu::725c94ef-d051-42d7-9d33-8572765d592b" providerId="AD" clId="Web-{49463B51-8B30-5B56-9CEA-3A883AC3380B}" dt="2023-01-23T16:47:59.136" v="0"/>
          <ac:picMkLst>
            <pc:docMk/>
            <pc:sldMk cId="2880533216" sldId="654"/>
            <ac:picMk id="6" creationId="{3DBDCB10-D449-DFEC-19B7-2B807B53C01A}"/>
          </ac:picMkLst>
        </pc:picChg>
        <pc:picChg chg="add mod ord">
          <ac:chgData name="Eileen Fleming Suse" userId="S::efs3844@ads.northwestern.edu::725c94ef-d051-42d7-9d33-8572765d592b" providerId="AD" clId="Web-{49463B51-8B30-5B56-9CEA-3A883AC3380B}" dt="2023-01-23T17:39:42.322" v="44" actId="14100"/>
          <ac:picMkLst>
            <pc:docMk/>
            <pc:sldMk cId="2880533216" sldId="654"/>
            <ac:picMk id="10" creationId="{C2861DED-743B-3598-AA24-A3D6F7B9E5F2}"/>
          </ac:picMkLst>
        </pc:picChg>
        <pc:cxnChg chg="mod">
          <ac:chgData name="Eileen Fleming Suse" userId="S::efs3844@ads.northwestern.edu::725c94ef-d051-42d7-9d33-8572765d592b" providerId="AD" clId="Web-{49463B51-8B30-5B56-9CEA-3A883AC3380B}" dt="2023-01-23T17:39:55.197" v="47" actId="14100"/>
          <ac:cxnSpMkLst>
            <pc:docMk/>
            <pc:sldMk cId="2880533216" sldId="654"/>
            <ac:cxnSpMk id="7" creationId="{755E37EB-3D36-9482-9CA4-EBFB39C6A532}"/>
          </ac:cxnSpMkLst>
        </pc:cxnChg>
      </pc:sldChg>
      <pc:sldChg chg="modSp modCm">
        <pc:chgData name="Eileen Fleming Suse" userId="S::efs3844@ads.northwestern.edu::725c94ef-d051-42d7-9d33-8572765d592b" providerId="AD" clId="Web-{49463B51-8B30-5B56-9CEA-3A883AC3380B}" dt="2023-01-23T17:02:09.558" v="37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49463B51-8B30-5B56-9CEA-3A883AC3380B}" dt="2023-01-23T17:02:09.558" v="37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49463B51-8B30-5B56-9CEA-3A883AC3380B}" dt="2023-01-23T17:01:51.838" v="35"/>
          <ac:graphicFrameMkLst>
            <pc:docMk/>
            <pc:sldMk cId="1618859033" sldId="693"/>
            <ac:graphicFrameMk id="6" creationId="{ABE664EC-DB8D-1736-BD6F-502306CFE78D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49463B51-8B30-5B56-9CEA-3A883AC3380B}" dt="2023-01-23T17:01:59.495" v="36"/>
              <pc2:cmMkLst xmlns:pc2="http://schemas.microsoft.com/office/powerpoint/2019/9/main/command">
                <pc:docMk/>
                <pc:sldMk cId="1618859033" sldId="693"/>
                <pc2:cmMk id="{E71A04E1-EC9E-45F8-A554-7CBD071D2160}"/>
              </pc2:cmMkLst>
            </pc226:cmChg>
          </p:ext>
        </pc:extLst>
      </pc:sldChg>
      <pc:sldChg chg="del">
        <pc:chgData name="Eileen Fleming Suse" userId="S::efs3844@ads.northwestern.edu::725c94ef-d051-42d7-9d33-8572765d592b" providerId="AD" clId="Web-{49463B51-8B30-5B56-9CEA-3A883AC3380B}" dt="2023-01-23T17:42:33.139" v="53"/>
        <pc:sldMkLst>
          <pc:docMk/>
          <pc:sldMk cId="1870894202" sldId="702"/>
        </pc:sldMkLst>
      </pc:sldChg>
      <pc:sldChg chg="del">
        <pc:chgData name="Eileen Fleming Suse" userId="S::efs3844@ads.northwestern.edu::725c94ef-d051-42d7-9d33-8572765d592b" providerId="AD" clId="Web-{49463B51-8B30-5B56-9CEA-3A883AC3380B}" dt="2023-01-23T17:42:32.936" v="52"/>
        <pc:sldMkLst>
          <pc:docMk/>
          <pc:sldMk cId="985547906" sldId="703"/>
        </pc:sldMkLst>
      </pc:sldChg>
      <pc:sldChg chg="del">
        <pc:chgData name="Eileen Fleming Suse" userId="S::efs3844@ads.northwestern.edu::725c94ef-d051-42d7-9d33-8572765d592b" providerId="AD" clId="Web-{49463B51-8B30-5B56-9CEA-3A883AC3380B}" dt="2023-01-23T17:42:31.514" v="51"/>
        <pc:sldMkLst>
          <pc:docMk/>
          <pc:sldMk cId="2545380390" sldId="704"/>
        </pc:sldMkLst>
      </pc:sldChg>
      <pc:sldChg chg="del">
        <pc:chgData name="Eileen Fleming Suse" userId="S::efs3844@ads.northwestern.edu::725c94ef-d051-42d7-9d33-8572765d592b" providerId="AD" clId="Web-{49463B51-8B30-5B56-9CEA-3A883AC3380B}" dt="2023-01-23T17:42:29.452" v="50"/>
        <pc:sldMkLst>
          <pc:docMk/>
          <pc:sldMk cId="2275656773" sldId="705"/>
        </pc:sldMkLst>
      </pc:sldChg>
      <pc:sldChg chg="del">
        <pc:chgData name="Eileen Fleming Suse" userId="S::efs3844@ads.northwestern.edu::725c94ef-d051-42d7-9d33-8572765d592b" providerId="AD" clId="Web-{49463B51-8B30-5B56-9CEA-3A883AC3380B}" dt="2023-01-23T17:40:27.370" v="48"/>
        <pc:sldMkLst>
          <pc:docMk/>
          <pc:sldMk cId="3253149521" sldId="711"/>
        </pc:sldMkLst>
      </pc:sldChg>
    </pc:docChg>
  </pc:docChgLst>
  <pc:docChgLst>
    <pc:chgData name="Alana Rivera" userId="S::arg3669@ads.northwestern.edu::fc8b707a-b7e9-4f2a-8d71-2d76819b7881" providerId="AD" clId="Web-{083675E9-9C34-49AA-AFE6-2B397D3BE046}"/>
    <pc:docChg chg="">
      <pc:chgData name="Alana Rivera" userId="S::arg3669@ads.northwestern.edu::fc8b707a-b7e9-4f2a-8d71-2d76819b7881" providerId="AD" clId="Web-{083675E9-9C34-49AA-AFE6-2B397D3BE046}" dt="2024-01-12T14:17:40.804" v="0"/>
      <pc:docMkLst>
        <pc:docMk/>
      </pc:docMkLst>
      <pc:sldChg chg="delCm">
        <pc:chgData name="Alana Rivera" userId="S::arg3669@ads.northwestern.edu::fc8b707a-b7e9-4f2a-8d71-2d76819b7881" providerId="AD" clId="Web-{083675E9-9C34-49AA-AFE6-2B397D3BE046}" dt="2024-01-12T14:17:40.804" v="0"/>
        <pc:sldMkLst>
          <pc:docMk/>
          <pc:sldMk cId="1805206964" sldId="81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083675E9-9C34-49AA-AFE6-2B397D3BE046}" dt="2024-01-12T14:17:40.804" v="0"/>
              <pc2:cmMkLst xmlns:pc2="http://schemas.microsoft.com/office/powerpoint/2019/9/main/command">
                <pc:docMk/>
                <pc:sldMk cId="1805206964" sldId="811"/>
                <pc2:cmMk id="{F6F1F774-6B75-4F45-861F-43B6552345D4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0F2044F9-5CB0-DA2C-2951-D3897AC3A6EA}"/>
    <pc:docChg chg="modSld">
      <pc:chgData name="Alana Rivera" userId="S::arg3669@ads.northwestern.edu::fc8b707a-b7e9-4f2a-8d71-2d76819b7881" providerId="AD" clId="Web-{0F2044F9-5CB0-DA2C-2951-D3897AC3A6EA}" dt="2023-03-07T18:33:18.235" v="5"/>
      <pc:docMkLst>
        <pc:docMk/>
      </pc:docMkLst>
      <pc:sldChg chg="modSp">
        <pc:chgData name="Alana Rivera" userId="S::arg3669@ads.northwestern.edu::fc8b707a-b7e9-4f2a-8d71-2d76819b7881" providerId="AD" clId="Web-{0F2044F9-5CB0-DA2C-2951-D3897AC3A6EA}" dt="2023-03-07T18:33:18.235" v="5"/>
        <pc:sldMkLst>
          <pc:docMk/>
          <pc:sldMk cId="1102152852" sldId="741"/>
        </pc:sldMkLst>
        <pc:graphicFrameChg chg="mod modGraphic">
          <ac:chgData name="Alana Rivera" userId="S::arg3669@ads.northwestern.edu::fc8b707a-b7e9-4f2a-8d71-2d76819b7881" providerId="AD" clId="Web-{0F2044F9-5CB0-DA2C-2951-D3897AC3A6EA}" dt="2023-03-07T18:33:18.235" v="5"/>
          <ac:graphicFrameMkLst>
            <pc:docMk/>
            <pc:sldMk cId="1102152852" sldId="741"/>
            <ac:graphicFrameMk id="7" creationId="{00000000-0000-0000-0000-000000000000}"/>
          </ac:graphicFrameMkLst>
        </pc:graphicFrameChg>
      </pc:sldChg>
    </pc:docChg>
  </pc:docChgLst>
  <pc:docChgLst>
    <pc:chgData name="Aleena Lida Surenian" userId="S::als0813@ads.northwestern.edu::e2fd0e4e-6417-49b0-ab16-0ba26a1719f0" providerId="AD" clId="Web-{4EDC53C0-039A-500B-14E8-F45F39D8C122}"/>
    <pc:docChg chg="modSld">
      <pc:chgData name="Aleena Lida Surenian" userId="S::als0813@ads.northwestern.edu::e2fd0e4e-6417-49b0-ab16-0ba26a1719f0" providerId="AD" clId="Web-{4EDC53C0-039A-500B-14E8-F45F39D8C122}" dt="2024-01-16T16:09:14.249" v="83"/>
      <pc:docMkLst>
        <pc:docMk/>
      </pc:docMkLst>
      <pc:sldChg chg="modSp delCm">
        <pc:chgData name="Aleena Lida Surenian" userId="S::als0813@ads.northwestern.edu::e2fd0e4e-6417-49b0-ab16-0ba26a1719f0" providerId="AD" clId="Web-{4EDC53C0-039A-500B-14E8-F45F39D8C122}" dt="2024-01-16T16:09:14.249" v="83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4EDC53C0-039A-500B-14E8-F45F39D8C122}" dt="2024-01-16T16:09:05.312" v="82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4EDC53C0-039A-500B-14E8-F45F39D8C122}" dt="2024-01-16T16:08:27.312" v="55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4EDC53C0-039A-500B-14E8-F45F39D8C122}" dt="2024-01-16T16:08:58.906" v="81" actId="20577"/>
          <ac:spMkLst>
            <pc:docMk/>
            <pc:sldMk cId="3682438970" sldId="698"/>
            <ac:spMk id="7" creationId="{E0DDD91A-F49B-E7FA-F65F-DEF38C972D7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eena Lida Surenian" userId="S::als0813@ads.northwestern.edu::e2fd0e4e-6417-49b0-ab16-0ba26a1719f0" providerId="AD" clId="Web-{4EDC53C0-039A-500B-14E8-F45F39D8C122}" dt="2024-01-16T16:09:14.249" v="83"/>
              <pc2:cmMkLst xmlns:pc2="http://schemas.microsoft.com/office/powerpoint/2019/9/main/command">
                <pc:docMk/>
                <pc:sldMk cId="3682438970" sldId="698"/>
                <pc2:cmMk id="{A3D6960A-6228-4478-BCE3-BE945B149D37}"/>
              </pc2:cmMkLst>
            </pc226:cmChg>
          </p:ext>
        </pc:extLst>
      </pc:sldChg>
      <pc:sldChg chg="modSp delCm">
        <pc:chgData name="Aleena Lida Surenian" userId="S::als0813@ads.northwestern.edu::e2fd0e4e-6417-49b0-ab16-0ba26a1719f0" providerId="AD" clId="Web-{4EDC53C0-039A-500B-14E8-F45F39D8C122}" dt="2024-01-16T15:46:07.116" v="7" actId="20577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4EDC53C0-039A-500B-14E8-F45F39D8C122}" dt="2024-01-16T15:46:07.116" v="7" actId="20577"/>
          <ac:spMkLst>
            <pc:docMk/>
            <pc:sldMk cId="149255822" sldId="700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eena Lida Surenian" userId="S::als0813@ads.northwestern.edu::e2fd0e4e-6417-49b0-ab16-0ba26a1719f0" providerId="AD" clId="Web-{4EDC53C0-039A-500B-14E8-F45F39D8C122}" dt="2024-01-16T15:45:53.412" v="0"/>
              <pc2:cmMkLst xmlns:pc2="http://schemas.microsoft.com/office/powerpoint/2019/9/main/command">
                <pc:docMk/>
                <pc:sldMk cId="149255822" sldId="700"/>
                <pc2:cmMk id="{5EF119DC-CC48-46C5-BDFD-2AEE0D0A7BCB}"/>
              </pc2:cmMkLst>
            </pc226:cmChg>
            <pc226:cmChg xmlns:pc226="http://schemas.microsoft.com/office/powerpoint/2022/06/main/command" chg="del">
              <pc226:chgData name="Aleena Lida Surenian" userId="S::als0813@ads.northwestern.edu::e2fd0e4e-6417-49b0-ab16-0ba26a1719f0" providerId="AD" clId="Web-{4EDC53C0-039A-500B-14E8-F45F39D8C122}" dt="2024-01-16T15:46:02.350" v="1"/>
              <pc2:cmMkLst xmlns:pc2="http://schemas.microsoft.com/office/powerpoint/2019/9/main/command">
                <pc:docMk/>
                <pc:sldMk cId="149255822" sldId="700"/>
                <pc2:cmMk id="{43B5DDF5-3B44-470F-BABA-05FCAA981081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0B1C585E-CDC1-D5C1-991E-77DA18F69160}"/>
    <pc:docChg chg="addSld modSld sldOrd">
      <pc:chgData name="Alana Rivera" userId="S::arg3669@ads.northwestern.edu::fc8b707a-b7e9-4f2a-8d71-2d76819b7881" providerId="AD" clId="Web-{0B1C585E-CDC1-D5C1-991E-77DA18F69160}" dt="2023-01-17T18:54:08.257" v="7" actId="20577"/>
      <pc:docMkLst>
        <pc:docMk/>
      </pc:docMkLst>
      <pc:sldChg chg="add">
        <pc:chgData name="Alana Rivera" userId="S::arg3669@ads.northwestern.edu::fc8b707a-b7e9-4f2a-8d71-2d76819b7881" providerId="AD" clId="Web-{0B1C585E-CDC1-D5C1-991E-77DA18F69160}" dt="2023-01-17T18:53:35.412" v="0"/>
        <pc:sldMkLst>
          <pc:docMk/>
          <pc:sldMk cId="1565702255" sldId="679"/>
        </pc:sldMkLst>
      </pc:sldChg>
      <pc:sldChg chg="modSp add">
        <pc:chgData name="Alana Rivera" userId="S::arg3669@ads.northwestern.edu::fc8b707a-b7e9-4f2a-8d71-2d76819b7881" providerId="AD" clId="Web-{0B1C585E-CDC1-D5C1-991E-77DA18F69160}" dt="2023-01-17T18:53:53.694" v="3" actId="20577"/>
        <pc:sldMkLst>
          <pc:docMk/>
          <pc:sldMk cId="2445583017" sldId="680"/>
        </pc:sldMkLst>
        <pc:spChg chg="mod">
          <ac:chgData name="Alana Rivera" userId="S::arg3669@ads.northwestern.edu::fc8b707a-b7e9-4f2a-8d71-2d76819b7881" providerId="AD" clId="Web-{0B1C585E-CDC1-D5C1-991E-77DA18F69160}" dt="2023-01-17T18:53:53.694" v="3" actId="20577"/>
          <ac:spMkLst>
            <pc:docMk/>
            <pc:sldMk cId="2445583017" sldId="680"/>
            <ac:spMk id="2" creationId="{7719FD7A-7B92-EC42-6554-FA310B6714B1}"/>
          </ac:spMkLst>
        </pc:spChg>
      </pc:sldChg>
      <pc:sldChg chg="modSp add ord">
        <pc:chgData name="Alana Rivera" userId="S::arg3669@ads.northwestern.edu::fc8b707a-b7e9-4f2a-8d71-2d76819b7881" providerId="AD" clId="Web-{0B1C585E-CDC1-D5C1-991E-77DA18F69160}" dt="2023-01-17T18:54:08.257" v="7" actId="20577"/>
        <pc:sldMkLst>
          <pc:docMk/>
          <pc:sldMk cId="1105007187" sldId="681"/>
        </pc:sldMkLst>
        <pc:spChg chg="mod">
          <ac:chgData name="Alana Rivera" userId="S::arg3669@ads.northwestern.edu::fc8b707a-b7e9-4f2a-8d71-2d76819b7881" providerId="AD" clId="Web-{0B1C585E-CDC1-D5C1-991E-77DA18F69160}" dt="2023-01-17T18:54:08.257" v="7" actId="20577"/>
          <ac:spMkLst>
            <pc:docMk/>
            <pc:sldMk cId="1105007187" sldId="681"/>
            <ac:spMk id="2" creationId="{7719FD7A-7B92-EC42-6554-FA310B6714B1}"/>
          </ac:spMkLst>
        </pc:spChg>
      </pc:sldChg>
    </pc:docChg>
  </pc:docChgLst>
  <pc:docChgLst>
    <pc:chgData name="Alana Rivera" userId="S::arg3669@ads.northwestern.edu::fc8b707a-b7e9-4f2a-8d71-2d76819b7881" providerId="AD" clId="Web-{E7EB1BD7-710D-6DC4-8180-5BE1F0D895EF}"/>
    <pc:docChg chg="modSld">
      <pc:chgData name="Alana Rivera" userId="S::arg3669@ads.northwestern.edu::fc8b707a-b7e9-4f2a-8d71-2d76819b7881" providerId="AD" clId="Web-{E7EB1BD7-710D-6DC4-8180-5BE1F0D895EF}" dt="2023-01-25T15:01:28.151" v="12" actId="20577"/>
      <pc:docMkLst>
        <pc:docMk/>
      </pc:docMkLst>
      <pc:sldChg chg="addSp modSp">
        <pc:chgData name="Alana Rivera" userId="S::arg3669@ads.northwestern.edu::fc8b707a-b7e9-4f2a-8d71-2d76819b7881" providerId="AD" clId="Web-{E7EB1BD7-710D-6DC4-8180-5BE1F0D895EF}" dt="2023-01-25T15:00:32.321" v="5" actId="1076"/>
        <pc:sldMkLst>
          <pc:docMk/>
          <pc:sldMk cId="1618859033" sldId="693"/>
        </pc:sldMkLst>
        <pc:picChg chg="add mod">
          <ac:chgData name="Alana Rivera" userId="S::arg3669@ads.northwestern.edu::fc8b707a-b7e9-4f2a-8d71-2d76819b7881" providerId="AD" clId="Web-{E7EB1BD7-710D-6DC4-8180-5BE1F0D895EF}" dt="2023-01-25T15:00:32.321" v="5" actId="1076"/>
          <ac:picMkLst>
            <pc:docMk/>
            <pc:sldMk cId="1618859033" sldId="693"/>
            <ac:picMk id="7" creationId="{7168CC8E-D8A7-E3A6-1171-D0E932415E88}"/>
          </ac:picMkLst>
        </pc:picChg>
      </pc:sldChg>
      <pc:sldChg chg="addSp modSp">
        <pc:chgData name="Alana Rivera" userId="S::arg3669@ads.northwestern.edu::fc8b707a-b7e9-4f2a-8d71-2d76819b7881" providerId="AD" clId="Web-{E7EB1BD7-710D-6DC4-8180-5BE1F0D895EF}" dt="2023-01-25T15:01:00.259" v="8" actId="1076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E7EB1BD7-710D-6DC4-8180-5BE1F0D895EF}" dt="2023-01-25T15:00:56.994" v="7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ana Rivera" userId="S::arg3669@ads.northwestern.edu::fc8b707a-b7e9-4f2a-8d71-2d76819b7881" providerId="AD" clId="Web-{E7EB1BD7-710D-6DC4-8180-5BE1F0D895EF}" dt="2023-01-25T15:01:00.259" v="8" actId="1076"/>
          <ac:spMkLst>
            <pc:docMk/>
            <pc:sldMk cId="149255822" sldId="700"/>
            <ac:spMk id="6" creationId="{1B118A30-D372-1791-AC9D-F862CEE17DE5}"/>
          </ac:spMkLst>
        </pc:spChg>
        <pc:picChg chg="add mod">
          <ac:chgData name="Alana Rivera" userId="S::arg3669@ads.northwestern.edu::fc8b707a-b7e9-4f2a-8d71-2d76819b7881" providerId="AD" clId="Web-{E7EB1BD7-710D-6DC4-8180-5BE1F0D895EF}" dt="2023-01-25T15:00:06.586" v="1" actId="1076"/>
          <ac:picMkLst>
            <pc:docMk/>
            <pc:sldMk cId="149255822" sldId="700"/>
            <ac:picMk id="7" creationId="{7A196FA8-B96F-E16C-A3BA-B137AC79C69F}"/>
          </ac:picMkLst>
        </pc:picChg>
      </pc:sldChg>
      <pc:sldChg chg="modSp">
        <pc:chgData name="Alana Rivera" userId="S::arg3669@ads.northwestern.edu::fc8b707a-b7e9-4f2a-8d71-2d76819b7881" providerId="AD" clId="Web-{E7EB1BD7-710D-6DC4-8180-5BE1F0D895EF}" dt="2023-01-25T15:01:28.151" v="12" actId="20577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E7EB1BD7-710D-6DC4-8180-5BE1F0D895EF}" dt="2023-01-25T15:01:28.151" v="12" actId="20577"/>
          <ac:spMkLst>
            <pc:docMk/>
            <pc:sldMk cId="1886867389" sldId="713"/>
            <ac:spMk id="3" creationId="{1419A524-96F5-A0B2-CACE-F9567471AB2E}"/>
          </ac:spMkLst>
        </pc:spChg>
      </pc:sldChg>
    </pc:docChg>
  </pc:docChgLst>
  <pc:docChgLst>
    <pc:chgData name="Alana Rivera" userId="S::arg3669@ads.northwestern.edu::fc8b707a-b7e9-4f2a-8d71-2d76819b7881" providerId="AD" clId="Web-{B27D4776-F88E-24EB-6CA8-47193E44A608}"/>
    <pc:docChg chg="delSld modSld">
      <pc:chgData name="Alana Rivera" userId="S::arg3669@ads.northwestern.edu::fc8b707a-b7e9-4f2a-8d71-2d76819b7881" providerId="AD" clId="Web-{B27D4776-F88E-24EB-6CA8-47193E44A608}" dt="2023-01-17T18:48:45.729" v="15"/>
      <pc:docMkLst>
        <pc:docMk/>
      </pc:docMkLst>
      <pc:sldChg chg="del">
        <pc:chgData name="Alana Rivera" userId="S::arg3669@ads.northwestern.edu::fc8b707a-b7e9-4f2a-8d71-2d76819b7881" providerId="AD" clId="Web-{B27D4776-F88E-24EB-6CA8-47193E44A608}" dt="2023-01-17T18:48:45.729" v="15"/>
        <pc:sldMkLst>
          <pc:docMk/>
          <pc:sldMk cId="1856621264" sldId="676"/>
        </pc:sldMkLst>
      </pc:sldChg>
      <pc:sldChg chg="modSp">
        <pc:chgData name="Alana Rivera" userId="S::arg3669@ads.northwestern.edu::fc8b707a-b7e9-4f2a-8d71-2d76819b7881" providerId="AD" clId="Web-{B27D4776-F88E-24EB-6CA8-47193E44A608}" dt="2023-01-17T18:48:44.354" v="14" actId="20577"/>
        <pc:sldMkLst>
          <pc:docMk/>
          <pc:sldMk cId="738184023" sldId="677"/>
        </pc:sldMkLst>
        <pc:spChg chg="mod">
          <ac:chgData name="Alana Rivera" userId="S::arg3669@ads.northwestern.edu::fc8b707a-b7e9-4f2a-8d71-2d76819b7881" providerId="AD" clId="Web-{B27D4776-F88E-24EB-6CA8-47193E44A608}" dt="2023-01-17T18:48:44.354" v="14" actId="20577"/>
          <ac:spMkLst>
            <pc:docMk/>
            <pc:sldMk cId="738184023" sldId="677"/>
            <ac:spMk id="2" creationId="{054A4674-3AFF-41C5-AE3C-B935BDCD9EDB}"/>
          </ac:spMkLst>
        </pc:spChg>
      </pc:sldChg>
    </pc:docChg>
  </pc:docChgLst>
  <pc:docChgLst>
    <pc:chgData name="Alana Rivera" userId="S::arg3669@ads.northwestern.edu::fc8b707a-b7e9-4f2a-8d71-2d76819b7881" providerId="AD" clId="Web-{6D8B7DFC-8ACE-A2F0-1B4A-D9617A67B53F}"/>
    <pc:docChg chg="addSld modSld">
      <pc:chgData name="Alana Rivera" userId="S::arg3669@ads.northwestern.edu::fc8b707a-b7e9-4f2a-8d71-2d76819b7881" providerId="AD" clId="Web-{6D8B7DFC-8ACE-A2F0-1B4A-D9617A67B53F}" dt="2023-02-08T21:20:51.510" v="34" actId="14100"/>
      <pc:docMkLst>
        <pc:docMk/>
      </pc:docMkLst>
      <pc:sldChg chg="addSp delSp modSp">
        <pc:chgData name="Alana Rivera" userId="S::arg3669@ads.northwestern.edu::fc8b707a-b7e9-4f2a-8d71-2d76819b7881" providerId="AD" clId="Web-{6D8B7DFC-8ACE-A2F0-1B4A-D9617A67B53F}" dt="2023-02-08T21:20:51.510" v="34" actId="14100"/>
        <pc:sldMkLst>
          <pc:docMk/>
          <pc:sldMk cId="1618859033" sldId="693"/>
        </pc:sldMkLst>
        <pc:spChg chg="add del">
          <ac:chgData name="Alana Rivera" userId="S::arg3669@ads.northwestern.edu::fc8b707a-b7e9-4f2a-8d71-2d76819b7881" providerId="AD" clId="Web-{6D8B7DFC-8ACE-A2F0-1B4A-D9617A67B53F}" dt="2023-02-08T21:19:50.461" v="3"/>
          <ac:spMkLst>
            <pc:docMk/>
            <pc:sldMk cId="1618859033" sldId="693"/>
            <ac:spMk id="3" creationId="{CB6A07B0-9481-077A-A70B-24D8140317F3}"/>
          </ac:spMkLst>
        </pc:spChg>
        <pc:spChg chg="add mod">
          <ac:chgData name="Alana Rivera" userId="S::arg3669@ads.northwestern.edu::fc8b707a-b7e9-4f2a-8d71-2d76819b7881" providerId="AD" clId="Web-{6D8B7DFC-8ACE-A2F0-1B4A-D9617A67B53F}" dt="2023-02-08T21:20:51.510" v="34" actId="14100"/>
          <ac:spMkLst>
            <pc:docMk/>
            <pc:sldMk cId="1618859033" sldId="693"/>
            <ac:spMk id="7" creationId="{DA88AE01-AA51-E8EB-9D93-9D5E47CBCB06}"/>
          </ac:spMkLst>
        </pc:spChg>
        <pc:spChg chg="add mod">
          <ac:chgData name="Alana Rivera" userId="S::arg3669@ads.northwestern.edu::fc8b707a-b7e9-4f2a-8d71-2d76819b7881" providerId="AD" clId="Web-{6D8B7DFC-8ACE-A2F0-1B4A-D9617A67B53F}" dt="2023-02-08T21:20:45.604" v="33" actId="20577"/>
          <ac:spMkLst>
            <pc:docMk/>
            <pc:sldMk cId="1618859033" sldId="693"/>
            <ac:spMk id="8" creationId="{364B7413-605B-0770-7B77-40A137AAD037}"/>
          </ac:spMkLst>
        </pc:spChg>
      </pc:sldChg>
      <pc:sldChg chg="modCm">
        <pc:chgData name="Alana Rivera" userId="S::arg3669@ads.northwestern.edu::fc8b707a-b7e9-4f2a-8d71-2d76819b7881" providerId="AD" clId="Web-{6D8B7DFC-8ACE-A2F0-1B4A-D9617A67B53F}" dt="2023-02-08T21:07:51.232" v="1"/>
        <pc:sldMkLst>
          <pc:docMk/>
          <pc:sldMk cId="872415970" sldId="69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Alana Rivera" userId="S::arg3669@ads.northwestern.edu::fc8b707a-b7e9-4f2a-8d71-2d76819b7881" providerId="AD" clId="Web-{6D8B7DFC-8ACE-A2F0-1B4A-D9617A67B53F}" dt="2023-02-08T21:07:51.232" v="1"/>
              <pc2:cmMkLst xmlns:pc2="http://schemas.microsoft.com/office/powerpoint/2019/9/main/command">
                <pc:docMk/>
                <pc:sldMk cId="872415970" sldId="697"/>
                <pc2:cmMk id="{A91608B9-6606-4ED6-B04E-01B758539162}"/>
              </pc2:cmMkLst>
              <pc226:cmRplyChg chg="add">
                <pc226:chgData name="Alana Rivera" userId="S::arg3669@ads.northwestern.edu::fc8b707a-b7e9-4f2a-8d71-2d76819b7881" providerId="AD" clId="Web-{6D8B7DFC-8ACE-A2F0-1B4A-D9617A67B53F}" dt="2023-02-08T21:07:51.232" v="1"/>
                <pc2:cmRplyMkLst xmlns:pc2="http://schemas.microsoft.com/office/powerpoint/2019/9/main/command">
                  <pc:docMk/>
                  <pc:sldMk cId="872415970" sldId="697"/>
                  <pc2:cmMk id="{A91608B9-6606-4ED6-B04E-01B758539162}"/>
                  <pc2:cmRplyMk id="{C9A7D450-FD79-43FE-BD6A-A594DF2107D1}"/>
                </pc2:cmRplyMkLst>
              </pc226:cmRplyChg>
            </pc226:cmChg>
          </p:ext>
        </pc:extLst>
      </pc:sldChg>
      <pc:sldChg chg="add">
        <pc:chgData name="Alana Rivera" userId="S::arg3669@ads.northwestern.edu::fc8b707a-b7e9-4f2a-8d71-2d76819b7881" providerId="AD" clId="Web-{6D8B7DFC-8ACE-A2F0-1B4A-D9617A67B53F}" dt="2023-02-08T21:07:06.559" v="0"/>
        <pc:sldMkLst>
          <pc:docMk/>
          <pc:sldMk cId="893258943" sldId="717"/>
        </pc:sldMkLst>
      </pc:sldChg>
    </pc:docChg>
  </pc:docChgLst>
  <pc:docChgLst>
    <pc:chgData name="Eileen Fleming Suse" userId="S::efs3844@ads.northwestern.edu::725c94ef-d051-42d7-9d33-8572765d592b" providerId="AD" clId="Web-{8F68FAA8-1955-9DF7-8ADC-676B77FF6F80}"/>
    <pc:docChg chg="modSld">
      <pc:chgData name="Eileen Fleming Suse" userId="S::efs3844@ads.northwestern.edu::725c94ef-d051-42d7-9d33-8572765d592b" providerId="AD" clId="Web-{8F68FAA8-1955-9DF7-8ADC-676B77FF6F80}" dt="2024-02-27T19:22:21.108" v="15"/>
      <pc:docMkLst>
        <pc:docMk/>
      </pc:docMkLst>
      <pc:sldChg chg="delSp modSp">
        <pc:chgData name="Eileen Fleming Suse" userId="S::efs3844@ads.northwestern.edu::725c94ef-d051-42d7-9d33-8572765d592b" providerId="AD" clId="Web-{8F68FAA8-1955-9DF7-8ADC-676B77FF6F80}" dt="2024-02-27T15:29:07.296" v="10" actId="1076"/>
        <pc:sldMkLst>
          <pc:docMk/>
          <pc:sldMk cId="2272606415" sldId="503"/>
        </pc:sldMkLst>
        <pc:spChg chg="del">
          <ac:chgData name="Eileen Fleming Suse" userId="S::efs3844@ads.northwestern.edu::725c94ef-d051-42d7-9d33-8572765d592b" providerId="AD" clId="Web-{8F68FAA8-1955-9DF7-8ADC-676B77FF6F80}" dt="2024-02-27T15:29:04.452" v="9"/>
          <ac:spMkLst>
            <pc:docMk/>
            <pc:sldMk cId="2272606415" sldId="503"/>
            <ac:spMk id="34" creationId="{FBBF1389-BD80-906C-FF91-5212E270D760}"/>
          </ac:spMkLst>
        </pc:spChg>
        <pc:spChg chg="del">
          <ac:chgData name="Eileen Fleming Suse" userId="S::efs3844@ads.northwestern.edu::725c94ef-d051-42d7-9d33-8572765d592b" providerId="AD" clId="Web-{8F68FAA8-1955-9DF7-8ADC-676B77FF6F80}" dt="2024-02-27T15:29:01.234" v="7"/>
          <ac:spMkLst>
            <pc:docMk/>
            <pc:sldMk cId="2272606415" sldId="503"/>
            <ac:spMk id="41" creationId="{EB5486E1-48A4-7196-FEA7-97AF98FF502A}"/>
          </ac:spMkLst>
        </pc:spChg>
        <pc:graphicFrameChg chg="mod">
          <ac:chgData name="Eileen Fleming Suse" userId="S::efs3844@ads.northwestern.edu::725c94ef-d051-42d7-9d33-8572765d592b" providerId="AD" clId="Web-{8F68FAA8-1955-9DF7-8ADC-676B77FF6F80}" dt="2024-02-27T15:29:07.296" v="10" actId="1076"/>
          <ac:graphicFrameMkLst>
            <pc:docMk/>
            <pc:sldMk cId="2272606415" sldId="503"/>
            <ac:graphicFrameMk id="9" creationId="{4183177C-9D92-DA12-8836-603957646F8F}"/>
          </ac:graphicFrameMkLst>
        </pc:graphicFrameChg>
        <pc:picChg chg="del">
          <ac:chgData name="Eileen Fleming Suse" userId="S::efs3844@ads.northwestern.edu::725c94ef-d051-42d7-9d33-8572765d592b" providerId="AD" clId="Web-{8F68FAA8-1955-9DF7-8ADC-676B77FF6F80}" dt="2024-02-27T15:28:58.515" v="6"/>
          <ac:picMkLst>
            <pc:docMk/>
            <pc:sldMk cId="2272606415" sldId="503"/>
            <ac:picMk id="71" creationId="{AD014517-6DF1-4AA8-9423-7ADA494033A8}"/>
          </ac:picMkLst>
        </pc:picChg>
      </pc:sldChg>
      <pc:sldChg chg="delCm">
        <pc:chgData name="Eileen Fleming Suse" userId="S::efs3844@ads.northwestern.edu::725c94ef-d051-42d7-9d33-8572765d592b" providerId="AD" clId="Web-{8F68FAA8-1955-9DF7-8ADC-676B77FF6F80}" dt="2024-02-27T15:27:46.059" v="4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Eileen Fleming Suse" userId="S::efs3844@ads.northwestern.edu::725c94ef-d051-42d7-9d33-8572765d592b" providerId="AD" clId="Web-{8F68FAA8-1955-9DF7-8ADC-676B77FF6F80}" dt="2024-02-27T15:27:46.059" v="4"/>
              <pc2:cmMkLst xmlns:pc2="http://schemas.microsoft.com/office/powerpoint/2019/9/main/command">
                <pc:docMk/>
                <pc:sldMk cId="2371520634" sldId="631"/>
                <pc2:cmMk id="{442B2D05-8512-479F-AF95-C0E8D0B994E5}"/>
              </pc2:cmMkLst>
            </pc226:cmChg>
          </p:ext>
        </pc:extLst>
      </pc:sldChg>
      <pc:sldChg chg="modSp delCm modCm">
        <pc:chgData name="Eileen Fleming Suse" userId="S::efs3844@ads.northwestern.edu::725c94ef-d051-42d7-9d33-8572765d592b" providerId="AD" clId="Web-{8F68FAA8-1955-9DF7-8ADC-676B77FF6F80}" dt="2024-02-27T15:27:37.137" v="3"/>
        <pc:sldMkLst>
          <pc:docMk/>
          <pc:sldMk cId="1982435436" sldId="784"/>
        </pc:sldMkLst>
        <pc:spChg chg="mod">
          <ac:chgData name="Eileen Fleming Suse" userId="S::efs3844@ads.northwestern.edu::725c94ef-d051-42d7-9d33-8572765d592b" providerId="AD" clId="Web-{8F68FAA8-1955-9DF7-8ADC-676B77FF6F80}" dt="2024-02-27T15:27:13.027" v="0"/>
          <ac:spMkLst>
            <pc:docMk/>
            <pc:sldMk cId="1982435436" sldId="784"/>
            <ac:spMk id="2" creationId="{648FBB25-E6AC-43E0-018E-68B40B74197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Eileen Fleming Suse" userId="S::efs3844@ads.northwestern.edu::725c94ef-d051-42d7-9d33-8572765d592b" providerId="AD" clId="Web-{8F68FAA8-1955-9DF7-8ADC-676B77FF6F80}" dt="2024-02-27T15:27:28.402" v="1"/>
              <pc2:cmMkLst xmlns:pc2="http://schemas.microsoft.com/office/powerpoint/2019/9/main/command">
                <pc:docMk/>
                <pc:sldMk cId="1982435436" sldId="784"/>
                <pc2:cmMk id="{B4C67E16-B8A7-40D8-8EE3-2C2C12B32B06}"/>
              </pc2:cmMkLst>
            </pc226:cmChg>
            <pc226:cmChg xmlns:pc226="http://schemas.microsoft.com/office/powerpoint/2022/06/main/command" chg="del mod">
              <pc226:chgData name="Eileen Fleming Suse" userId="S::efs3844@ads.northwestern.edu::725c94ef-d051-42d7-9d33-8572765d592b" providerId="AD" clId="Web-{8F68FAA8-1955-9DF7-8ADC-676B77FF6F80}" dt="2024-02-27T15:27:37.137" v="3"/>
              <pc2:cmMkLst xmlns:pc2="http://schemas.microsoft.com/office/powerpoint/2019/9/main/command">
                <pc:docMk/>
                <pc:sldMk cId="1982435436" sldId="784"/>
                <pc2:cmMk id="{39245BE5-181E-42E7-8A85-C78CE5D052A9}"/>
              </pc2:cmMkLst>
            </pc226:cmChg>
          </p:ext>
        </pc:extLst>
      </pc:sldChg>
      <pc:sldChg chg="addSp delSp modSp mod modClrScheme chgLayout">
        <pc:chgData name="Eileen Fleming Suse" userId="S::efs3844@ads.northwestern.edu::725c94ef-d051-42d7-9d33-8572765d592b" providerId="AD" clId="Web-{8F68FAA8-1955-9DF7-8ADC-676B77FF6F80}" dt="2024-02-27T19:22:21.108" v="15"/>
        <pc:sldMkLst>
          <pc:docMk/>
          <pc:sldMk cId="3030449316" sldId="826"/>
        </pc:sldMkLst>
        <pc:spChg chg="add del mod ord">
          <ac:chgData name="Eileen Fleming Suse" userId="S::efs3844@ads.northwestern.edu::725c94ef-d051-42d7-9d33-8572765d592b" providerId="AD" clId="Web-{8F68FAA8-1955-9DF7-8ADC-676B77FF6F80}" dt="2024-02-27T19:22:21.108" v="15"/>
          <ac:spMkLst>
            <pc:docMk/>
            <pc:sldMk cId="3030449316" sldId="826"/>
            <ac:spMk id="62" creationId="{94A59E64-5A20-04ED-3668-E6A6DD9C46F6}"/>
          </ac:spMkLst>
        </pc:spChg>
        <pc:spChg chg="add del mod ord">
          <ac:chgData name="Eileen Fleming Suse" userId="S::efs3844@ads.northwestern.edu::725c94ef-d051-42d7-9d33-8572765d592b" providerId="AD" clId="Web-{8F68FAA8-1955-9DF7-8ADC-676B77FF6F80}" dt="2024-02-27T19:22:21.108" v="15"/>
          <ac:spMkLst>
            <pc:docMk/>
            <pc:sldMk cId="3030449316" sldId="826"/>
            <ac:spMk id="64" creationId="{51190D2A-10B8-6366-3865-CE9BCDDA4BDD}"/>
          </ac:spMkLst>
        </pc:spChg>
      </pc:sldChg>
      <pc:sldChg chg="mod modClrScheme chgLayout">
        <pc:chgData name="Eileen Fleming Suse" userId="S::efs3844@ads.northwestern.edu::725c94ef-d051-42d7-9d33-8572765d592b" providerId="AD" clId="Web-{8F68FAA8-1955-9DF7-8ADC-676B77FF6F80}" dt="2024-02-27T15:38:47.004" v="13"/>
        <pc:sldMkLst>
          <pc:docMk/>
          <pc:sldMk cId="4283907660" sldId="827"/>
        </pc:sldMkLst>
      </pc:sldChg>
      <pc:sldChg chg="mod modClrScheme chgLayout">
        <pc:chgData name="Eileen Fleming Suse" userId="S::efs3844@ads.northwestern.edu::725c94ef-d051-42d7-9d33-8572765d592b" providerId="AD" clId="Web-{8F68FAA8-1955-9DF7-8ADC-676B77FF6F80}" dt="2024-02-27T15:37:22.516" v="12"/>
        <pc:sldMkLst>
          <pc:docMk/>
          <pc:sldMk cId="3429940818" sldId="828"/>
        </pc:sldMkLst>
      </pc:sldChg>
      <pc:sldChg chg="mod modClrScheme chgLayout">
        <pc:chgData name="Eileen Fleming Suse" userId="S::efs3844@ads.northwestern.edu::725c94ef-d051-42d7-9d33-8572765d592b" providerId="AD" clId="Web-{8F68FAA8-1955-9DF7-8ADC-676B77FF6F80}" dt="2024-02-27T15:36:34.983" v="11"/>
        <pc:sldMkLst>
          <pc:docMk/>
          <pc:sldMk cId="3419957415" sldId="829"/>
        </pc:sldMkLst>
      </pc:sldChg>
    </pc:docChg>
  </pc:docChgLst>
  <pc:docChgLst>
    <pc:chgData name="Alana Rivera" userId="S::arg3669@ads.northwestern.edu::fc8b707a-b7e9-4f2a-8d71-2d76819b7881" providerId="AD" clId="Web-{C33BAB6E-99DE-103D-37D0-821C03E09227}"/>
    <pc:docChg chg="addSld delSld modSld">
      <pc:chgData name="Alana Rivera" userId="S::arg3669@ads.northwestern.edu::fc8b707a-b7e9-4f2a-8d71-2d76819b7881" providerId="AD" clId="Web-{C33BAB6E-99DE-103D-37D0-821C03E09227}" dt="2024-01-09T23:27:10.303" v="62"/>
      <pc:docMkLst>
        <pc:docMk/>
      </pc:docMkLst>
      <pc:sldChg chg="modSp">
        <pc:chgData name="Alana Rivera" userId="S::arg3669@ads.northwestern.edu::fc8b707a-b7e9-4f2a-8d71-2d76819b7881" providerId="AD" clId="Web-{C33BAB6E-99DE-103D-37D0-821C03E09227}" dt="2024-01-09T23:24:24.688" v="42" actId="20577"/>
        <pc:sldMkLst>
          <pc:docMk/>
          <pc:sldMk cId="780674383" sldId="637"/>
        </pc:sldMkLst>
        <pc:spChg chg="mod">
          <ac:chgData name="Alana Rivera" userId="S::arg3669@ads.northwestern.edu::fc8b707a-b7e9-4f2a-8d71-2d76819b7881" providerId="AD" clId="Web-{C33BAB6E-99DE-103D-37D0-821C03E09227}" dt="2024-01-09T23:24:24.688" v="42" actId="20577"/>
          <ac:spMkLst>
            <pc:docMk/>
            <pc:sldMk cId="780674383" sldId="637"/>
            <ac:spMk id="3" creationId="{DA50930E-26CA-0055-B236-924BCF7AB59F}"/>
          </ac:spMkLst>
        </pc:spChg>
      </pc:sldChg>
      <pc:sldChg chg="modSp add del">
        <pc:chgData name="Alana Rivera" userId="S::arg3669@ads.northwestern.edu::fc8b707a-b7e9-4f2a-8d71-2d76819b7881" providerId="AD" clId="Web-{C33BAB6E-99DE-103D-37D0-821C03E09227}" dt="2024-01-09T23:19:34.101" v="29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C33BAB6E-99DE-103D-37D0-821C03E09227}" dt="2024-01-09T23:18:23.708" v="15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addSp delSp modSp">
        <pc:chgData name="Alana Rivera" userId="S::arg3669@ads.northwestern.edu::fc8b707a-b7e9-4f2a-8d71-2d76819b7881" providerId="AD" clId="Web-{C33BAB6E-99DE-103D-37D0-821C03E09227}" dt="2024-01-09T23:25:24.690" v="51" actId="1076"/>
        <pc:sldMkLst>
          <pc:docMk/>
          <pc:sldMk cId="4179369718" sldId="769"/>
        </pc:sldMkLst>
        <pc:spChg chg="add del mod">
          <ac:chgData name="Alana Rivera" userId="S::arg3669@ads.northwestern.edu::fc8b707a-b7e9-4f2a-8d71-2d76819b7881" providerId="AD" clId="Web-{C33BAB6E-99DE-103D-37D0-821C03E09227}" dt="2024-01-09T23:24:31.470" v="46"/>
          <ac:spMkLst>
            <pc:docMk/>
            <pc:sldMk cId="4179369718" sldId="769"/>
            <ac:spMk id="3" creationId="{7F8E621D-4A8F-857B-92CB-0A70FF263786}"/>
          </ac:spMkLst>
        </pc:spChg>
        <pc:spChg chg="del">
          <ac:chgData name="Alana Rivera" userId="S::arg3669@ads.northwestern.edu::fc8b707a-b7e9-4f2a-8d71-2d76819b7881" providerId="AD" clId="Web-{C33BAB6E-99DE-103D-37D0-821C03E09227}" dt="2024-01-09T23:19:22.476" v="25"/>
          <ac:spMkLst>
            <pc:docMk/>
            <pc:sldMk cId="4179369718" sldId="769"/>
            <ac:spMk id="11" creationId="{00000000-0000-0000-0000-000000000000}"/>
          </ac:spMkLst>
        </pc:spChg>
        <pc:spChg chg="del mod">
          <ac:chgData name="Alana Rivera" userId="S::arg3669@ads.northwestern.edu::fc8b707a-b7e9-4f2a-8d71-2d76819b7881" providerId="AD" clId="Web-{C33BAB6E-99DE-103D-37D0-821C03E09227}" dt="2024-01-09T23:19:25.695" v="27"/>
          <ac:spMkLst>
            <pc:docMk/>
            <pc:sldMk cId="4179369718" sldId="769"/>
            <ac:spMk id="12" creationId="{00000000-0000-0000-0000-000000000000}"/>
          </ac:spMkLst>
        </pc:spChg>
        <pc:spChg chg="del">
          <ac:chgData name="Alana Rivera" userId="S::arg3669@ads.northwestern.edu::fc8b707a-b7e9-4f2a-8d71-2d76819b7881" providerId="AD" clId="Web-{C33BAB6E-99DE-103D-37D0-821C03E09227}" dt="2024-01-09T23:25:17.503" v="50"/>
          <ac:spMkLst>
            <pc:docMk/>
            <pc:sldMk cId="4179369718" sldId="769"/>
            <ac:spMk id="13" creationId="{00000000-0000-0000-0000-000000000000}"/>
          </ac:spMkLst>
        </pc:spChg>
        <pc:picChg chg="mod">
          <ac:chgData name="Alana Rivera" userId="S::arg3669@ads.northwestern.edu::fc8b707a-b7e9-4f2a-8d71-2d76819b7881" providerId="AD" clId="Web-{C33BAB6E-99DE-103D-37D0-821C03E09227}" dt="2024-01-09T23:25:24.690" v="51" actId="1076"/>
          <ac:picMkLst>
            <pc:docMk/>
            <pc:sldMk cId="4179369718" sldId="769"/>
            <ac:picMk id="7" creationId="{00000000-0000-0000-0000-000000000000}"/>
          </ac:picMkLst>
        </pc:picChg>
      </pc:sldChg>
      <pc:sldChg chg="delSp modSp">
        <pc:chgData name="Alana Rivera" userId="S::arg3669@ads.northwestern.edu::fc8b707a-b7e9-4f2a-8d71-2d76819b7881" providerId="AD" clId="Web-{C33BAB6E-99DE-103D-37D0-821C03E09227}" dt="2024-01-09T23:19:14.835" v="24"/>
        <pc:sldMkLst>
          <pc:docMk/>
          <pc:sldMk cId="1789754515" sldId="770"/>
        </pc:sldMkLst>
        <pc:spChg chg="mod">
          <ac:chgData name="Alana Rivera" userId="S::arg3669@ads.northwestern.edu::fc8b707a-b7e9-4f2a-8d71-2d76819b7881" providerId="AD" clId="Web-{C33BAB6E-99DE-103D-37D0-821C03E09227}" dt="2024-01-09T23:19:00.006" v="21" actId="1076"/>
          <ac:spMkLst>
            <pc:docMk/>
            <pc:sldMk cId="1789754515" sldId="770"/>
            <ac:spMk id="14" creationId="{00000000-0000-0000-0000-000000000000}"/>
          </ac:spMkLst>
        </pc:spChg>
        <pc:spChg chg="mod">
          <ac:chgData name="Alana Rivera" userId="S::arg3669@ads.northwestern.edu::fc8b707a-b7e9-4f2a-8d71-2d76819b7881" providerId="AD" clId="Web-{C33BAB6E-99DE-103D-37D0-821C03E09227}" dt="2024-01-09T23:18:54.022" v="20" actId="1076"/>
          <ac:spMkLst>
            <pc:docMk/>
            <pc:sldMk cId="1789754515" sldId="770"/>
            <ac:spMk id="15" creationId="{00000000-0000-0000-0000-000000000000}"/>
          </ac:spMkLst>
        </pc:spChg>
        <pc:spChg chg="mod">
          <ac:chgData name="Alana Rivera" userId="S::arg3669@ads.northwestern.edu::fc8b707a-b7e9-4f2a-8d71-2d76819b7881" providerId="AD" clId="Web-{C33BAB6E-99DE-103D-37D0-821C03E09227}" dt="2024-01-09T23:18:49.428" v="19" actId="1076"/>
          <ac:spMkLst>
            <pc:docMk/>
            <pc:sldMk cId="1789754515" sldId="770"/>
            <ac:spMk id="16" creationId="{00000000-0000-0000-0000-000000000000}"/>
          </ac:spMkLst>
        </pc:spChg>
        <pc:spChg chg="mod">
          <ac:chgData name="Alana Rivera" userId="S::arg3669@ads.northwestern.edu::fc8b707a-b7e9-4f2a-8d71-2d76819b7881" providerId="AD" clId="Web-{C33BAB6E-99DE-103D-37D0-821C03E09227}" dt="2024-01-09T23:19:11.147" v="23" actId="1076"/>
          <ac:spMkLst>
            <pc:docMk/>
            <pc:sldMk cId="1789754515" sldId="770"/>
            <ac:spMk id="17" creationId="{00000000-0000-0000-0000-000000000000}"/>
          </ac:spMkLst>
        </pc:spChg>
        <pc:spChg chg="mod">
          <ac:chgData name="Alana Rivera" userId="S::arg3669@ads.northwestern.edu::fc8b707a-b7e9-4f2a-8d71-2d76819b7881" providerId="AD" clId="Web-{C33BAB6E-99DE-103D-37D0-821C03E09227}" dt="2024-01-09T23:19:05.616" v="22" actId="1076"/>
          <ac:spMkLst>
            <pc:docMk/>
            <pc:sldMk cId="1789754515" sldId="770"/>
            <ac:spMk id="19" creationId="{00000000-0000-0000-0000-000000000000}"/>
          </ac:spMkLst>
        </pc:spChg>
        <pc:spChg chg="del">
          <ac:chgData name="Alana Rivera" userId="S::arg3669@ads.northwestern.edu::fc8b707a-b7e9-4f2a-8d71-2d76819b7881" providerId="AD" clId="Web-{C33BAB6E-99DE-103D-37D0-821C03E09227}" dt="2024-01-09T23:19:14.835" v="24"/>
          <ac:spMkLst>
            <pc:docMk/>
            <pc:sldMk cId="1789754515" sldId="770"/>
            <ac:spMk id="22" creationId="{FC17955B-1095-3B3F-42CD-74BB54765AD3}"/>
          </ac:spMkLst>
        </pc:spChg>
      </pc:sldChg>
      <pc:sldChg chg="add del">
        <pc:chgData name="Alana Rivera" userId="S::arg3669@ads.northwestern.edu::fc8b707a-b7e9-4f2a-8d71-2d76819b7881" providerId="AD" clId="Web-{C33BAB6E-99DE-103D-37D0-821C03E09227}" dt="2024-01-09T23:25:09.940" v="49"/>
        <pc:sldMkLst>
          <pc:docMk/>
          <pc:sldMk cId="1219261171" sldId="771"/>
        </pc:sldMkLst>
      </pc:sldChg>
      <pc:sldChg chg="add">
        <pc:chgData name="Alana Rivera" userId="S::arg3669@ads.northwestern.edu::fc8b707a-b7e9-4f2a-8d71-2d76819b7881" providerId="AD" clId="Web-{C33BAB6E-99DE-103D-37D0-821C03E09227}" dt="2024-01-09T23:25:00.674" v="48"/>
        <pc:sldMkLst>
          <pc:docMk/>
          <pc:sldMk cId="4211238063" sldId="772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3.803" v="52"/>
        <pc:sldMkLst>
          <pc:docMk/>
          <pc:sldMk cId="3647874458" sldId="773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4.287" v="53"/>
        <pc:sldMkLst>
          <pc:docMk/>
          <pc:sldMk cId="1424189288" sldId="774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4.897" v="54"/>
        <pc:sldMkLst>
          <pc:docMk/>
          <pc:sldMk cId="254191585" sldId="775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5.287" v="55"/>
        <pc:sldMkLst>
          <pc:docMk/>
          <pc:sldMk cId="1949613945" sldId="776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5.975" v="56"/>
        <pc:sldMkLst>
          <pc:docMk/>
          <pc:sldMk cId="1219261171" sldId="777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6.459" v="57"/>
        <pc:sldMkLst>
          <pc:docMk/>
          <pc:sldMk cId="2387886441" sldId="778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7.209" v="58"/>
        <pc:sldMkLst>
          <pc:docMk/>
          <pc:sldMk cId="3128038281" sldId="779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7.912" v="59"/>
        <pc:sldMkLst>
          <pc:docMk/>
          <pc:sldMk cId="2404201166" sldId="780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8.397" v="60"/>
        <pc:sldMkLst>
          <pc:docMk/>
          <pc:sldMk cId="768417776" sldId="781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09.631" v="61"/>
        <pc:sldMkLst>
          <pc:docMk/>
          <pc:sldMk cId="3734042619" sldId="782"/>
        </pc:sldMkLst>
      </pc:sldChg>
      <pc:sldChg chg="add">
        <pc:chgData name="Alana Rivera" userId="S::arg3669@ads.northwestern.edu::fc8b707a-b7e9-4f2a-8d71-2d76819b7881" providerId="AD" clId="Web-{C33BAB6E-99DE-103D-37D0-821C03E09227}" dt="2024-01-09T23:27:10.303" v="62"/>
        <pc:sldMkLst>
          <pc:docMk/>
          <pc:sldMk cId="3859034132" sldId="783"/>
        </pc:sldMkLst>
      </pc:sldChg>
      <pc:sldMasterChg chg="addSldLayout">
        <pc:chgData name="Alana Rivera" userId="S::arg3669@ads.northwestern.edu::fc8b707a-b7e9-4f2a-8d71-2d76819b7881" providerId="AD" clId="Web-{C33BAB6E-99DE-103D-37D0-821C03E09227}" dt="2024-01-09T23:25:00.674" v="48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617638659" sldId="2147483925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407640099" sldId="2147483926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3554029526" sldId="2147483932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1342248109" sldId="2147484002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1428249061" sldId="2147484003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1515655145" sldId="2147484004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2783045463" sldId="2147487094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3102931972" sldId="2147487095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413736809" sldId="2147487114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3939256970" sldId="2147487142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3829198981" sldId="2147487318"/>
          </pc:sldLayoutMkLst>
        </pc:sldLayoutChg>
        <pc:sldLayoutChg chg="add">
          <pc:chgData name="Alana Rivera" userId="S::arg3669@ads.northwestern.edu::fc8b707a-b7e9-4f2a-8d71-2d76819b7881" providerId="AD" clId="Web-{C33BAB6E-99DE-103D-37D0-821C03E09227}" dt="2024-01-09T23:25:00.674" v="48"/>
          <pc:sldLayoutMkLst>
            <pc:docMk/>
            <pc:sldMasterMk cId="989504779" sldId="2147483734"/>
            <pc:sldLayoutMk cId="4290579671" sldId="2147487319"/>
          </pc:sldLayoutMkLst>
        </pc:sldLayoutChg>
      </pc:sldMasterChg>
    </pc:docChg>
  </pc:docChgLst>
  <pc:docChgLst>
    <pc:chgData name="Alana Rivera" userId="S::arg3669@ads.northwestern.edu::fc8b707a-b7e9-4f2a-8d71-2d76819b7881" providerId="AD" clId="Web-{9F95C3E5-687C-2600-B8B0-7D2B2D9EEF0F}"/>
    <pc:docChg chg="addSld delSld modSld sldOrd">
      <pc:chgData name="Alana Rivera" userId="S::arg3669@ads.northwestern.edu::fc8b707a-b7e9-4f2a-8d71-2d76819b7881" providerId="AD" clId="Web-{9F95C3E5-687C-2600-B8B0-7D2B2D9EEF0F}" dt="2023-01-18T14:55:23.024" v="24"/>
      <pc:docMkLst>
        <pc:docMk/>
      </pc:docMkLst>
      <pc:sldChg chg="del">
        <pc:chgData name="Alana Rivera" userId="S::arg3669@ads.northwestern.edu::fc8b707a-b7e9-4f2a-8d71-2d76819b7881" providerId="AD" clId="Web-{9F95C3E5-687C-2600-B8B0-7D2B2D9EEF0F}" dt="2023-01-18T14:53:02.239" v="3"/>
        <pc:sldMkLst>
          <pc:docMk/>
          <pc:sldMk cId="2335050651" sldId="641"/>
        </pc:sldMkLst>
      </pc:sldChg>
      <pc:sldChg chg="del">
        <pc:chgData name="Alana Rivera" userId="S::arg3669@ads.northwestern.edu::fc8b707a-b7e9-4f2a-8d71-2d76819b7881" providerId="AD" clId="Web-{9F95C3E5-687C-2600-B8B0-7D2B2D9EEF0F}" dt="2023-01-18T14:51:58.846" v="2"/>
        <pc:sldMkLst>
          <pc:docMk/>
          <pc:sldMk cId="2333205164" sldId="658"/>
        </pc:sldMkLst>
      </pc:sldChg>
      <pc:sldChg chg="modSp">
        <pc:chgData name="Alana Rivera" userId="S::arg3669@ads.northwestern.edu::fc8b707a-b7e9-4f2a-8d71-2d76819b7881" providerId="AD" clId="Web-{9F95C3E5-687C-2600-B8B0-7D2B2D9EEF0F}" dt="2023-01-18T14:54:52.304" v="23"/>
        <pc:sldMkLst>
          <pc:docMk/>
          <pc:sldMk cId="3012549691" sldId="662"/>
        </pc:sldMkLst>
        <pc:graphicFrameChg chg="mod modGraphic">
          <ac:chgData name="Alana Rivera" userId="S::arg3669@ads.northwestern.edu::fc8b707a-b7e9-4f2a-8d71-2d76819b7881" providerId="AD" clId="Web-{9F95C3E5-687C-2600-B8B0-7D2B2D9EEF0F}" dt="2023-01-18T14:54:52.304" v="23"/>
          <ac:graphicFrameMkLst>
            <pc:docMk/>
            <pc:sldMk cId="3012549691" sldId="662"/>
            <ac:graphicFrameMk id="7" creationId="{B0AB755A-CFDB-CB12-C9A4-1B8DFB38A37D}"/>
          </ac:graphicFrameMkLst>
        </pc:graphicFrameChg>
      </pc:sldChg>
      <pc:sldChg chg="ord">
        <pc:chgData name="Alana Rivera" userId="S::arg3669@ads.northwestern.edu::fc8b707a-b7e9-4f2a-8d71-2d76819b7881" providerId="AD" clId="Web-{9F95C3E5-687C-2600-B8B0-7D2B2D9EEF0F}" dt="2023-01-18T14:54:25.991" v="4"/>
        <pc:sldMkLst>
          <pc:docMk/>
          <pc:sldMk cId="2810791716" sldId="666"/>
        </pc:sldMkLst>
      </pc:sldChg>
      <pc:sldChg chg="ord">
        <pc:chgData name="Alana Rivera" userId="S::arg3669@ads.northwestern.edu::fc8b707a-b7e9-4f2a-8d71-2d76819b7881" providerId="AD" clId="Web-{9F95C3E5-687C-2600-B8B0-7D2B2D9EEF0F}" dt="2023-01-18T14:51:53.471" v="1"/>
        <pc:sldMkLst>
          <pc:docMk/>
          <pc:sldMk cId="3406231659" sldId="670"/>
        </pc:sldMkLst>
      </pc:sldChg>
      <pc:sldChg chg="modSp">
        <pc:chgData name="Alana Rivera" userId="S::arg3669@ads.northwestern.edu::fc8b707a-b7e9-4f2a-8d71-2d76819b7881" providerId="AD" clId="Web-{9F95C3E5-687C-2600-B8B0-7D2B2D9EEF0F}" dt="2023-01-18T14:54:31.319" v="5" actId="20577"/>
        <pc:sldMkLst>
          <pc:docMk/>
          <pc:sldMk cId="1906776872" sldId="674"/>
        </pc:sldMkLst>
        <pc:spChg chg="mod">
          <ac:chgData name="Alana Rivera" userId="S::arg3669@ads.northwestern.edu::fc8b707a-b7e9-4f2a-8d71-2d76819b7881" providerId="AD" clId="Web-{9F95C3E5-687C-2600-B8B0-7D2B2D9EEF0F}" dt="2023-01-18T14:54:31.319" v="5" actId="20577"/>
          <ac:spMkLst>
            <pc:docMk/>
            <pc:sldMk cId="1906776872" sldId="674"/>
            <ac:spMk id="10" creationId="{C3421561-3F17-B298-1439-CE14D7B3D513}"/>
          </ac:spMkLst>
        </pc:spChg>
      </pc:sldChg>
      <pc:sldChg chg="add">
        <pc:chgData name="Alana Rivera" userId="S::arg3669@ads.northwestern.edu::fc8b707a-b7e9-4f2a-8d71-2d76819b7881" providerId="AD" clId="Web-{9F95C3E5-687C-2600-B8B0-7D2B2D9EEF0F}" dt="2023-01-18T14:55:23.024" v="24"/>
        <pc:sldMkLst>
          <pc:docMk/>
          <pc:sldMk cId="485676429" sldId="682"/>
        </pc:sldMkLst>
      </pc:sldChg>
    </pc:docChg>
  </pc:docChgLst>
  <pc:docChgLst>
    <pc:chgData name="Alana Rivera" userId="S::arg3669@ads.northwestern.edu::fc8b707a-b7e9-4f2a-8d71-2d76819b7881" providerId="AD" clId="Web-{E9F45CD4-CBD2-2E20-8151-01CD3D321C6D}"/>
    <pc:docChg chg="addSld delSld modSld sldOrd addMainMaster modMainMaster">
      <pc:chgData name="Alana Rivera" userId="S::arg3669@ads.northwestern.edu::fc8b707a-b7e9-4f2a-8d71-2d76819b7881" providerId="AD" clId="Web-{E9F45CD4-CBD2-2E20-8151-01CD3D321C6D}" dt="2023-01-16T16:56:40.043" v="334"/>
      <pc:docMkLst>
        <pc:docMk/>
      </pc:docMkLst>
      <pc:sldChg chg="modSp del">
        <pc:chgData name="Alana Rivera" userId="S::arg3669@ads.northwestern.edu::fc8b707a-b7e9-4f2a-8d71-2d76819b7881" providerId="AD" clId="Web-{E9F45CD4-CBD2-2E20-8151-01CD3D321C6D}" dt="2023-01-16T15:34:22.797" v="38"/>
        <pc:sldMkLst>
          <pc:docMk/>
          <pc:sldMk cId="2364613253" sldId="566"/>
        </pc:sldMkLst>
        <pc:spChg chg="mod">
          <ac:chgData name="Alana Rivera" userId="S::arg3669@ads.northwestern.edu::fc8b707a-b7e9-4f2a-8d71-2d76819b7881" providerId="AD" clId="Web-{E9F45CD4-CBD2-2E20-8151-01CD3D321C6D}" dt="2023-01-16T15:33:58.328" v="14" actId="20577"/>
          <ac:spMkLst>
            <pc:docMk/>
            <pc:sldMk cId="2364613253" sldId="566"/>
            <ac:spMk id="3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E9F45CD4-CBD2-2E20-8151-01CD3D321C6D}" dt="2023-01-16T16:03:49.992" v="209"/>
        <pc:sldMkLst>
          <pc:docMk/>
          <pc:sldMk cId="2658620609" sldId="607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2.477" v="212"/>
        <pc:sldMkLst>
          <pc:docMk/>
          <pc:sldMk cId="2567376188" sldId="608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2.508" v="213"/>
        <pc:sldMkLst>
          <pc:docMk/>
          <pc:sldMk cId="2434707299" sldId="609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3.492" v="214"/>
        <pc:sldMkLst>
          <pc:docMk/>
          <pc:sldMk cId="582726238" sldId="610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08.991" v="208"/>
        <pc:sldMkLst>
          <pc:docMk/>
          <pc:sldMk cId="4178507163" sldId="611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4.774" v="215"/>
        <pc:sldMkLst>
          <pc:docMk/>
          <pc:sldMk cId="1930741500" sldId="612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5.774" v="216"/>
        <pc:sldMkLst>
          <pc:docMk/>
          <pc:sldMk cId="4023452713" sldId="614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6.289" v="217"/>
        <pc:sldMkLst>
          <pc:docMk/>
          <pc:sldMk cId="1423475731" sldId="615"/>
        </pc:sldMkLst>
      </pc:sldChg>
      <pc:sldChg chg="modSp">
        <pc:chgData name="Alana Rivera" userId="S::arg3669@ads.northwestern.edu::fc8b707a-b7e9-4f2a-8d71-2d76819b7881" providerId="AD" clId="Web-{E9F45CD4-CBD2-2E20-8151-01CD3D321C6D}" dt="2023-01-16T16:19:27.419" v="273" actId="20577"/>
        <pc:sldMkLst>
          <pc:docMk/>
          <pc:sldMk cId="3319064144" sldId="623"/>
        </pc:sldMkLst>
        <pc:spChg chg="mod">
          <ac:chgData name="Alana Rivera" userId="S::arg3669@ads.northwestern.edu::fc8b707a-b7e9-4f2a-8d71-2d76819b7881" providerId="AD" clId="Web-{E9F45CD4-CBD2-2E20-8151-01CD3D321C6D}" dt="2023-01-16T16:19:27.419" v="273" actId="20577"/>
          <ac:spMkLst>
            <pc:docMk/>
            <pc:sldMk cId="3319064144" sldId="623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E9F45CD4-CBD2-2E20-8151-01CD3D321C6D}" dt="2023-01-16T16:19:44.935" v="292" actId="20577"/>
        <pc:sldMkLst>
          <pc:docMk/>
          <pc:sldMk cId="2447244355" sldId="624"/>
        </pc:sldMkLst>
        <pc:spChg chg="mod">
          <ac:chgData name="Alana Rivera" userId="S::arg3669@ads.northwestern.edu::fc8b707a-b7e9-4f2a-8d71-2d76819b7881" providerId="AD" clId="Web-{E9F45CD4-CBD2-2E20-8151-01CD3D321C6D}" dt="2023-01-16T16:19:44.935" v="292" actId="20577"/>
          <ac:spMkLst>
            <pc:docMk/>
            <pc:sldMk cId="2447244355" sldId="624"/>
            <ac:spMk id="2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E9F45CD4-CBD2-2E20-8151-01CD3D321C6D}" dt="2023-01-16T15:53:24.494" v="159"/>
        <pc:sldMkLst>
          <pc:docMk/>
          <pc:sldMk cId="827976565" sldId="626"/>
        </pc:sldMkLst>
      </pc:sldChg>
      <pc:sldChg chg="addSp delSp modSp">
        <pc:chgData name="Alana Rivera" userId="S::arg3669@ads.northwestern.edu::fc8b707a-b7e9-4f2a-8d71-2d76819b7881" providerId="AD" clId="Web-{E9F45CD4-CBD2-2E20-8151-01CD3D321C6D}" dt="2023-01-16T16:54:04.712" v="331" actId="1076"/>
        <pc:sldMkLst>
          <pc:docMk/>
          <pc:sldMk cId="89077294" sldId="629"/>
        </pc:sldMkLst>
        <pc:spChg chg="mod ord">
          <ac:chgData name="Alana Rivera" userId="S::arg3669@ads.northwestern.edu::fc8b707a-b7e9-4f2a-8d71-2d76819b7881" providerId="AD" clId="Web-{E9F45CD4-CBD2-2E20-8151-01CD3D321C6D}" dt="2023-01-16T16:54:04.712" v="331" actId="1076"/>
          <ac:spMkLst>
            <pc:docMk/>
            <pc:sldMk cId="89077294" sldId="629"/>
            <ac:spMk id="10" creationId="{00000000-0000-0000-0000-000000000000}"/>
          </ac:spMkLst>
        </pc:spChg>
        <pc:spChg chg="mod">
          <ac:chgData name="Alana Rivera" userId="S::arg3669@ads.northwestern.edu::fc8b707a-b7e9-4f2a-8d71-2d76819b7881" providerId="AD" clId="Web-{E9F45CD4-CBD2-2E20-8151-01CD3D321C6D}" dt="2023-01-16T15:46:01.891" v="129" actId="1076"/>
          <ac:spMkLst>
            <pc:docMk/>
            <pc:sldMk cId="89077294" sldId="629"/>
            <ac:spMk id="15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5:43:52.357" v="110" actId="1076"/>
          <ac:spMkLst>
            <pc:docMk/>
            <pc:sldMk cId="89077294" sldId="629"/>
            <ac:spMk id="16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5:46:34.110" v="134" actId="14100"/>
          <ac:spMkLst>
            <pc:docMk/>
            <pc:sldMk cId="89077294" sldId="629"/>
            <ac:spMk id="17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5:45:35.578" v="126" actId="1076"/>
          <ac:spMkLst>
            <pc:docMk/>
            <pc:sldMk cId="89077294" sldId="629"/>
            <ac:spMk id="18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5:43:47.185" v="109" actId="1076"/>
          <ac:spMkLst>
            <pc:docMk/>
            <pc:sldMk cId="89077294" sldId="629"/>
            <ac:spMk id="19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6:53:59.462" v="330" actId="1076"/>
          <ac:spMkLst>
            <pc:docMk/>
            <pc:sldMk cId="89077294" sldId="629"/>
            <ac:spMk id="21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E9F45CD4-CBD2-2E20-8151-01CD3D321C6D}" dt="2023-01-16T15:43:56.154" v="111" actId="1076"/>
          <ac:spMkLst>
            <pc:docMk/>
            <pc:sldMk cId="89077294" sldId="629"/>
            <ac:spMk id="22" creationId="{00000000-0000-0000-0000-000000000000}"/>
          </ac:spMkLst>
        </pc:spChg>
        <pc:spChg chg="del mod">
          <ac:chgData name="Alana Rivera" userId="S::arg3669@ads.northwestern.edu::fc8b707a-b7e9-4f2a-8d71-2d76819b7881" providerId="AD" clId="Web-{E9F45CD4-CBD2-2E20-8151-01CD3D321C6D}" dt="2023-01-16T15:37:31.067" v="49"/>
          <ac:spMkLst>
            <pc:docMk/>
            <pc:sldMk cId="89077294" sldId="629"/>
            <ac:spMk id="23" creationId="{00000000-0000-0000-0000-000000000000}"/>
          </ac:spMkLst>
        </pc:spChg>
        <pc:spChg chg="del">
          <ac:chgData name="Alana Rivera" userId="S::arg3669@ads.northwestern.edu::fc8b707a-b7e9-4f2a-8d71-2d76819b7881" providerId="AD" clId="Web-{E9F45CD4-CBD2-2E20-8151-01CD3D321C6D}" dt="2023-01-16T15:37:29.755" v="48"/>
          <ac:spMkLst>
            <pc:docMk/>
            <pc:sldMk cId="89077294" sldId="629"/>
            <ac:spMk id="24" creationId="{00000000-0000-0000-0000-000000000000}"/>
          </ac:spMkLst>
        </pc:spChg>
        <pc:picChg chg="add mod ord">
          <ac:chgData name="Alana Rivera" userId="S::arg3669@ads.northwestern.edu::fc8b707a-b7e9-4f2a-8d71-2d76819b7881" providerId="AD" clId="Web-{E9F45CD4-CBD2-2E20-8151-01CD3D321C6D}" dt="2023-01-16T15:43:01.871" v="103" actId="14100"/>
          <ac:picMkLst>
            <pc:docMk/>
            <pc:sldMk cId="89077294" sldId="629"/>
            <ac:picMk id="2" creationId="{7EEAC2E7-2DA7-07F0-4602-95197E113BA2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2.505" v="40"/>
          <ac:picMkLst>
            <pc:docMk/>
            <pc:sldMk cId="89077294" sldId="629"/>
            <ac:picMk id="4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5.114" v="44"/>
          <ac:picMkLst>
            <pc:docMk/>
            <pc:sldMk cId="89077294" sldId="629"/>
            <ac:picMk id="5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32.317" v="50"/>
          <ac:picMkLst>
            <pc:docMk/>
            <pc:sldMk cId="89077294" sldId="629"/>
            <ac:picMk id="6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3.614" v="42"/>
          <ac:picMkLst>
            <pc:docMk/>
            <pc:sldMk cId="89077294" sldId="629"/>
            <ac:picMk id="7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3.489" v="41"/>
          <ac:picMkLst>
            <pc:docMk/>
            <pc:sldMk cId="89077294" sldId="629"/>
            <ac:picMk id="8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32.833" v="51"/>
          <ac:picMkLst>
            <pc:docMk/>
            <pc:sldMk cId="89077294" sldId="629"/>
            <ac:picMk id="9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5.755" v="45"/>
          <ac:picMkLst>
            <pc:docMk/>
            <pc:sldMk cId="89077294" sldId="629"/>
            <ac:picMk id="11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4.255" v="43"/>
          <ac:picMkLst>
            <pc:docMk/>
            <pc:sldMk cId="89077294" sldId="629"/>
            <ac:picMk id="14" creationId="{00000000-0000-0000-0000-000000000000}"/>
          </ac:picMkLst>
        </pc:picChg>
        <pc:picChg chg="del">
          <ac:chgData name="Alana Rivera" userId="S::arg3669@ads.northwestern.edu::fc8b707a-b7e9-4f2a-8d71-2d76819b7881" providerId="AD" clId="Web-{E9F45CD4-CBD2-2E20-8151-01CD3D321C6D}" dt="2023-01-16T15:37:26.286" v="46"/>
          <ac:picMkLst>
            <pc:docMk/>
            <pc:sldMk cId="89077294" sldId="629"/>
            <ac:picMk id="25" creationId="{00000000-0000-0000-0000-000000000000}"/>
          </ac:picMkLst>
        </pc:picChg>
      </pc:sldChg>
      <pc:sldChg chg="modSp">
        <pc:chgData name="Alana Rivera" userId="S::arg3669@ads.northwestern.edu::fc8b707a-b7e9-4f2a-8d71-2d76819b7881" providerId="AD" clId="Web-{E9F45CD4-CBD2-2E20-8151-01CD3D321C6D}" dt="2023-01-16T15:33:20.546" v="0" actId="1076"/>
        <pc:sldMkLst>
          <pc:docMk/>
          <pc:sldMk cId="1191054267" sldId="630"/>
        </pc:sldMkLst>
        <pc:spChg chg="mod">
          <ac:chgData name="Alana Rivera" userId="S::arg3669@ads.northwestern.edu::fc8b707a-b7e9-4f2a-8d71-2d76819b7881" providerId="AD" clId="Web-{E9F45CD4-CBD2-2E20-8151-01CD3D321C6D}" dt="2023-01-16T15:33:20.546" v="0" actId="1076"/>
          <ac:spMkLst>
            <pc:docMk/>
            <pc:sldMk cId="1191054267" sldId="630"/>
            <ac:spMk id="2" creationId="{84EB8AC4-456D-277B-9FDC-C55E9091A5A6}"/>
          </ac:spMkLst>
        </pc:spChg>
      </pc:sldChg>
      <pc:sldChg chg="modSp">
        <pc:chgData name="Alana Rivera" userId="S::arg3669@ads.northwestern.edu::fc8b707a-b7e9-4f2a-8d71-2d76819b7881" providerId="AD" clId="Web-{E9F45CD4-CBD2-2E20-8151-01CD3D321C6D}" dt="2023-01-16T16:19:11.887" v="258" actId="1076"/>
        <pc:sldMkLst>
          <pc:docMk/>
          <pc:sldMk cId="2371520634" sldId="631"/>
        </pc:sldMkLst>
        <pc:spChg chg="mod">
          <ac:chgData name="Alana Rivera" userId="S::arg3669@ads.northwestern.edu::fc8b707a-b7e9-4f2a-8d71-2d76819b7881" providerId="AD" clId="Web-{E9F45CD4-CBD2-2E20-8151-01CD3D321C6D}" dt="2023-01-16T16:19:11.887" v="258" actId="1076"/>
          <ac:spMkLst>
            <pc:docMk/>
            <pc:sldMk cId="2371520634" sldId="631"/>
            <ac:spMk id="3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E9F45CD4-CBD2-2E20-8151-01CD3D321C6D}" dt="2023-01-16T16:21:04.499" v="303" actId="20577"/>
        <pc:sldMkLst>
          <pc:docMk/>
          <pc:sldMk cId="888239619" sldId="632"/>
        </pc:sldMkLst>
        <pc:spChg chg="mod">
          <ac:chgData name="Alana Rivera" userId="S::arg3669@ads.northwestern.edu::fc8b707a-b7e9-4f2a-8d71-2d76819b7881" providerId="AD" clId="Web-{E9F45CD4-CBD2-2E20-8151-01CD3D321C6D}" dt="2023-01-16T16:14:59.132" v="255" actId="1076"/>
          <ac:spMkLst>
            <pc:docMk/>
            <pc:sldMk cId="888239619" sldId="632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E9F45CD4-CBD2-2E20-8151-01CD3D321C6D}" dt="2023-01-16T16:21:04.499" v="303" actId="20577"/>
          <ac:spMkLst>
            <pc:docMk/>
            <pc:sldMk cId="888239619" sldId="632"/>
            <ac:spMk id="3" creationId="{00000000-0000-0000-0000-000000000000}"/>
          </ac:spMkLst>
        </pc:spChg>
      </pc:sldChg>
      <pc:sldChg chg="addSp delSp modSp ord">
        <pc:chgData name="Alana Rivera" userId="S::arg3669@ads.northwestern.edu::fc8b707a-b7e9-4f2a-8d71-2d76819b7881" providerId="AD" clId="Web-{E9F45CD4-CBD2-2E20-8151-01CD3D321C6D}" dt="2023-01-16T15:51:39.414" v="149" actId="20577"/>
        <pc:sldMkLst>
          <pc:docMk/>
          <pc:sldMk cId="780674383" sldId="637"/>
        </pc:sldMkLst>
        <pc:spChg chg="mod">
          <ac:chgData name="Alana Rivera" userId="S::arg3669@ads.northwestern.edu::fc8b707a-b7e9-4f2a-8d71-2d76819b7881" providerId="AD" clId="Web-{E9F45CD4-CBD2-2E20-8151-01CD3D321C6D}" dt="2023-01-16T15:51:39.414" v="149" actId="20577"/>
          <ac:spMkLst>
            <pc:docMk/>
            <pc:sldMk cId="780674383" sldId="637"/>
            <ac:spMk id="3" creationId="{DA50930E-26CA-0055-B236-924BCF7AB59F}"/>
          </ac:spMkLst>
        </pc:spChg>
        <pc:spChg chg="del">
          <ac:chgData name="Alana Rivera" userId="S::arg3669@ads.northwestern.edu::fc8b707a-b7e9-4f2a-8d71-2d76819b7881" providerId="AD" clId="Web-{E9F45CD4-CBD2-2E20-8151-01CD3D321C6D}" dt="2023-01-16T15:50:15.146" v="138"/>
          <ac:spMkLst>
            <pc:docMk/>
            <pc:sldMk cId="780674383" sldId="637"/>
            <ac:spMk id="4" creationId="{2887FCE3-A928-EB87-B027-9573C7A3A15C}"/>
          </ac:spMkLst>
        </pc:spChg>
        <pc:picChg chg="add mod ord">
          <ac:chgData name="Alana Rivera" userId="S::arg3669@ads.northwestern.edu::fc8b707a-b7e9-4f2a-8d71-2d76819b7881" providerId="AD" clId="Web-{E9F45CD4-CBD2-2E20-8151-01CD3D321C6D}" dt="2023-01-16T15:51:15.913" v="144" actId="1076"/>
          <ac:picMkLst>
            <pc:docMk/>
            <pc:sldMk cId="780674383" sldId="637"/>
            <ac:picMk id="7" creationId="{5A5F37CD-F3CB-43D8-B57A-BD0B263AFD6C}"/>
          </ac:picMkLst>
        </pc:picChg>
      </pc:sldChg>
      <pc:sldChg chg="modSp">
        <pc:chgData name="Alana Rivera" userId="S::arg3669@ads.northwestern.edu::fc8b707a-b7e9-4f2a-8d71-2d76819b7881" providerId="AD" clId="Web-{E9F45CD4-CBD2-2E20-8151-01CD3D321C6D}" dt="2023-01-16T16:52:14.772" v="305"/>
        <pc:sldMkLst>
          <pc:docMk/>
          <pc:sldMk cId="2335050651" sldId="641"/>
        </pc:sldMkLst>
        <pc:spChg chg="mod">
          <ac:chgData name="Alana Rivera" userId="S::arg3669@ads.northwestern.edu::fc8b707a-b7e9-4f2a-8d71-2d76819b7881" providerId="AD" clId="Web-{E9F45CD4-CBD2-2E20-8151-01CD3D321C6D}" dt="2023-01-16T16:52:14.772" v="305"/>
          <ac:spMkLst>
            <pc:docMk/>
            <pc:sldMk cId="2335050651" sldId="641"/>
            <ac:spMk id="2" creationId="{4454D9D2-FD51-4B03-BD7A-F1350B0E301B}"/>
          </ac:spMkLst>
        </pc:spChg>
      </pc:sldChg>
      <pc:sldChg chg="del">
        <pc:chgData name="Alana Rivera" userId="S::arg3669@ads.northwestern.edu::fc8b707a-b7e9-4f2a-8d71-2d76819b7881" providerId="AD" clId="Web-{E9F45CD4-CBD2-2E20-8151-01CD3D321C6D}" dt="2023-01-16T16:03:52.258" v="211"/>
        <pc:sldMkLst>
          <pc:docMk/>
          <pc:sldMk cId="3282531933" sldId="643"/>
        </pc:sldMkLst>
      </pc:sldChg>
      <pc:sldChg chg="del">
        <pc:chgData name="Alana Rivera" userId="S::arg3669@ads.northwestern.edu::fc8b707a-b7e9-4f2a-8d71-2d76819b7881" providerId="AD" clId="Web-{E9F45CD4-CBD2-2E20-8151-01CD3D321C6D}" dt="2023-01-16T16:03:50.711" v="210"/>
        <pc:sldMkLst>
          <pc:docMk/>
          <pc:sldMk cId="953105945" sldId="644"/>
        </pc:sldMkLst>
      </pc:sldChg>
      <pc:sldChg chg="modSp">
        <pc:chgData name="Alana Rivera" userId="S::arg3669@ads.northwestern.edu::fc8b707a-b7e9-4f2a-8d71-2d76819b7881" providerId="AD" clId="Web-{E9F45CD4-CBD2-2E20-8151-01CD3D321C6D}" dt="2023-01-16T16:04:22.165" v="222" actId="1076"/>
        <pc:sldMkLst>
          <pc:docMk/>
          <pc:sldMk cId="381378734" sldId="647"/>
        </pc:sldMkLst>
        <pc:spChg chg="mod">
          <ac:chgData name="Alana Rivera" userId="S::arg3669@ads.northwestern.edu::fc8b707a-b7e9-4f2a-8d71-2d76819b7881" providerId="AD" clId="Web-{E9F45CD4-CBD2-2E20-8151-01CD3D321C6D}" dt="2023-01-16T16:04:16.196" v="221" actId="14100"/>
          <ac:spMkLst>
            <pc:docMk/>
            <pc:sldMk cId="381378734" sldId="647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E9F45CD4-CBD2-2E20-8151-01CD3D321C6D}" dt="2023-01-16T16:04:22.165" v="222" actId="1076"/>
          <ac:spMkLst>
            <pc:docMk/>
            <pc:sldMk cId="381378734" sldId="647"/>
            <ac:spMk id="3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E9F45CD4-CBD2-2E20-8151-01CD3D321C6D}" dt="2023-01-16T15:52:28.462" v="151" actId="20577"/>
        <pc:sldMkLst>
          <pc:docMk/>
          <pc:sldMk cId="3930713224" sldId="652"/>
        </pc:sldMkLst>
        <pc:spChg chg="mod">
          <ac:chgData name="Alana Rivera" userId="S::arg3669@ads.northwestern.edu::fc8b707a-b7e9-4f2a-8d71-2d76819b7881" providerId="AD" clId="Web-{E9F45CD4-CBD2-2E20-8151-01CD3D321C6D}" dt="2023-01-16T15:52:28.462" v="151" actId="20577"/>
          <ac:spMkLst>
            <pc:docMk/>
            <pc:sldMk cId="3930713224" sldId="652"/>
            <ac:spMk id="3" creationId="{C072A9ED-20FF-40E5-9793-79452C94FE39}"/>
          </ac:spMkLst>
        </pc:spChg>
      </pc:sldChg>
      <pc:sldChg chg="modSp">
        <pc:chgData name="Alana Rivera" userId="S::arg3669@ads.northwestern.edu::fc8b707a-b7e9-4f2a-8d71-2d76819b7881" providerId="AD" clId="Web-{E9F45CD4-CBD2-2E20-8151-01CD3D321C6D}" dt="2023-01-16T15:53:39.479" v="166" actId="20577"/>
        <pc:sldMkLst>
          <pc:docMk/>
          <pc:sldMk cId="1933816182" sldId="653"/>
        </pc:sldMkLst>
        <pc:spChg chg="mod">
          <ac:chgData name="Alana Rivera" userId="S::arg3669@ads.northwestern.edu::fc8b707a-b7e9-4f2a-8d71-2d76819b7881" providerId="AD" clId="Web-{E9F45CD4-CBD2-2E20-8151-01CD3D321C6D}" dt="2023-01-16T15:53:39.479" v="166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add del">
        <pc:chgData name="Alana Rivera" userId="S::arg3669@ads.northwestern.edu::fc8b707a-b7e9-4f2a-8d71-2d76819b7881" providerId="AD" clId="Web-{E9F45CD4-CBD2-2E20-8151-01CD3D321C6D}" dt="2023-01-16T16:14:27.897" v="248"/>
        <pc:sldMkLst>
          <pc:docMk/>
          <pc:sldMk cId="3026608583" sldId="659"/>
        </pc:sldMkLst>
      </pc:sldChg>
      <pc:sldChg chg="add del">
        <pc:chgData name="Alana Rivera" userId="S::arg3669@ads.northwestern.edu::fc8b707a-b7e9-4f2a-8d71-2d76819b7881" providerId="AD" clId="Web-{E9F45CD4-CBD2-2E20-8151-01CD3D321C6D}" dt="2023-01-16T16:14:25.334" v="246"/>
        <pc:sldMkLst>
          <pc:docMk/>
          <pc:sldMk cId="868143051" sldId="660"/>
        </pc:sldMkLst>
      </pc:sldChg>
      <pc:sldChg chg="new del">
        <pc:chgData name="Alana Rivera" userId="S::arg3669@ads.northwestern.edu::fc8b707a-b7e9-4f2a-8d71-2d76819b7881" providerId="AD" clId="Web-{E9F45CD4-CBD2-2E20-8151-01CD3D321C6D}" dt="2023-01-16T16:14:27.162" v="247"/>
        <pc:sldMkLst>
          <pc:docMk/>
          <pc:sldMk cId="42706619" sldId="661"/>
        </pc:sldMkLst>
      </pc:sldChg>
      <pc:sldChg chg="addSp modSp add replId">
        <pc:chgData name="Alana Rivera" userId="S::arg3669@ads.northwestern.edu::fc8b707a-b7e9-4f2a-8d71-2d76819b7881" providerId="AD" clId="Web-{E9F45CD4-CBD2-2E20-8151-01CD3D321C6D}" dt="2023-01-16T16:14:12.412" v="245" actId="20577"/>
        <pc:sldMkLst>
          <pc:docMk/>
          <pc:sldMk cId="3012549691" sldId="662"/>
        </pc:sldMkLst>
        <pc:spChg chg="mod">
          <ac:chgData name="Alana Rivera" userId="S::arg3669@ads.northwestern.edu::fc8b707a-b7e9-4f2a-8d71-2d76819b7881" providerId="AD" clId="Web-{E9F45CD4-CBD2-2E20-8151-01CD3D321C6D}" dt="2023-01-16T16:14:12.412" v="245" actId="20577"/>
          <ac:spMkLst>
            <pc:docMk/>
            <pc:sldMk cId="3012549691" sldId="662"/>
            <ac:spMk id="2" creationId="{00000000-0000-0000-0000-000000000000}"/>
          </ac:spMkLst>
        </pc:spChg>
        <pc:graphicFrameChg chg="add mod modGraphic">
          <ac:chgData name="Alana Rivera" userId="S::arg3669@ads.northwestern.edu::fc8b707a-b7e9-4f2a-8d71-2d76819b7881" providerId="AD" clId="Web-{E9F45CD4-CBD2-2E20-8151-01CD3D321C6D}" dt="2023-01-16T16:08:54.358" v="244"/>
          <ac:graphicFrameMkLst>
            <pc:docMk/>
            <pc:sldMk cId="3012549691" sldId="662"/>
            <ac:graphicFrameMk id="7" creationId="{B0AB755A-CFDB-CB12-C9A4-1B8DFB38A37D}"/>
          </ac:graphicFrameMkLst>
        </pc:graphicFrameChg>
      </pc:sldChg>
      <pc:sldChg chg="add ord">
        <pc:chgData name="Alana Rivera" userId="S::arg3669@ads.northwestern.edu::fc8b707a-b7e9-4f2a-8d71-2d76819b7881" providerId="AD" clId="Web-{E9F45CD4-CBD2-2E20-8151-01CD3D321C6D}" dt="2023-01-16T16:20:44.092" v="301"/>
        <pc:sldMkLst>
          <pc:docMk/>
          <pc:sldMk cId="1243351812" sldId="663"/>
        </pc:sldMkLst>
      </pc:sldChg>
      <pc:sldChg chg="add ord">
        <pc:chgData name="Alana Rivera" userId="S::arg3669@ads.northwestern.edu::fc8b707a-b7e9-4f2a-8d71-2d76819b7881" providerId="AD" clId="Web-{E9F45CD4-CBD2-2E20-8151-01CD3D321C6D}" dt="2023-01-16T16:20:44.092" v="302"/>
        <pc:sldMkLst>
          <pc:docMk/>
          <pc:sldMk cId="1803306748" sldId="664"/>
        </pc:sldMkLst>
      </pc:sldChg>
      <pc:sldChg chg="add">
        <pc:chgData name="Alana Rivera" userId="S::arg3669@ads.northwestern.edu::fc8b707a-b7e9-4f2a-8d71-2d76819b7881" providerId="AD" clId="Web-{E9F45CD4-CBD2-2E20-8151-01CD3D321C6D}" dt="2023-01-16T16:29:06.057" v="304"/>
        <pc:sldMkLst>
          <pc:docMk/>
          <pc:sldMk cId="322239113" sldId="665"/>
        </pc:sldMkLst>
      </pc:sldChg>
      <pc:sldChg chg="modSp add replId">
        <pc:chgData name="Alana Rivera" userId="S::arg3669@ads.northwestern.edu::fc8b707a-b7e9-4f2a-8d71-2d76819b7881" providerId="AD" clId="Web-{E9F45CD4-CBD2-2E20-8151-01CD3D321C6D}" dt="2023-01-16T16:52:42.132" v="324" actId="20577"/>
        <pc:sldMkLst>
          <pc:docMk/>
          <pc:sldMk cId="2810791716" sldId="666"/>
        </pc:sldMkLst>
        <pc:spChg chg="mod">
          <ac:chgData name="Alana Rivera" userId="S::arg3669@ads.northwestern.edu::fc8b707a-b7e9-4f2a-8d71-2d76819b7881" providerId="AD" clId="Web-{E9F45CD4-CBD2-2E20-8151-01CD3D321C6D}" dt="2023-01-16T16:52:42.132" v="324" actId="20577"/>
          <ac:spMkLst>
            <pc:docMk/>
            <pc:sldMk cId="2810791716" sldId="666"/>
            <ac:spMk id="2" creationId="{7719FD7A-7B92-EC42-6554-FA310B6714B1}"/>
          </ac:spMkLst>
        </pc:spChg>
      </pc:sldChg>
      <pc:sldChg chg="add">
        <pc:chgData name="Alana Rivera" userId="S::arg3669@ads.northwestern.edu::fc8b707a-b7e9-4f2a-8d71-2d76819b7881" providerId="AD" clId="Web-{E9F45CD4-CBD2-2E20-8151-01CD3D321C6D}" dt="2023-01-16T16:53:17.195" v="325"/>
        <pc:sldMkLst>
          <pc:docMk/>
          <pc:sldMk cId="2179344909" sldId="667"/>
        </pc:sldMkLst>
      </pc:sldChg>
      <pc:sldChg chg="add ord">
        <pc:chgData name="Alana Rivera" userId="S::arg3669@ads.northwestern.edu::fc8b707a-b7e9-4f2a-8d71-2d76819b7881" providerId="AD" clId="Web-{E9F45CD4-CBD2-2E20-8151-01CD3D321C6D}" dt="2023-01-16T16:53:40.852" v="328"/>
        <pc:sldMkLst>
          <pc:docMk/>
          <pc:sldMk cId="3492999049" sldId="668"/>
        </pc:sldMkLst>
      </pc:sldChg>
      <pc:sldChg chg="add ord">
        <pc:chgData name="Alana Rivera" userId="S::arg3669@ads.northwestern.edu::fc8b707a-b7e9-4f2a-8d71-2d76819b7881" providerId="AD" clId="Web-{E9F45CD4-CBD2-2E20-8151-01CD3D321C6D}" dt="2023-01-16T16:53:40.852" v="329"/>
        <pc:sldMkLst>
          <pc:docMk/>
          <pc:sldMk cId="629011489" sldId="669"/>
        </pc:sldMkLst>
      </pc:sldChg>
      <pc:sldChg chg="add">
        <pc:chgData name="Alana Rivera" userId="S::arg3669@ads.northwestern.edu::fc8b707a-b7e9-4f2a-8d71-2d76819b7881" providerId="AD" clId="Web-{E9F45CD4-CBD2-2E20-8151-01CD3D321C6D}" dt="2023-01-16T16:55:54.277" v="332"/>
        <pc:sldMkLst>
          <pc:docMk/>
          <pc:sldMk cId="3406231659" sldId="670"/>
        </pc:sldMkLst>
      </pc:sldChg>
      <pc:sldChg chg="add ord">
        <pc:chgData name="Alana Rivera" userId="S::arg3669@ads.northwestern.edu::fc8b707a-b7e9-4f2a-8d71-2d76819b7881" providerId="AD" clId="Web-{E9F45CD4-CBD2-2E20-8151-01CD3D321C6D}" dt="2023-01-16T16:56:40.043" v="334"/>
        <pc:sldMkLst>
          <pc:docMk/>
          <pc:sldMk cId="777408379" sldId="671"/>
        </pc:sldMkLst>
      </pc:sldChg>
      <pc:sldMasterChg chg="modSldLayout">
        <pc:chgData name="Alana Rivera" userId="S::arg3669@ads.northwestern.edu::fc8b707a-b7e9-4f2a-8d71-2d76819b7881" providerId="AD" clId="Web-{E9F45CD4-CBD2-2E20-8151-01CD3D321C6D}" dt="2023-01-16T16:07:39.732" v="223"/>
        <pc:sldMasterMkLst>
          <pc:docMk/>
          <pc:sldMasterMk cId="989504779" sldId="2147483734"/>
        </pc:sldMasterMkLst>
        <pc:sldLayoutChg chg="replI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989504779" sldId="2147483734"/>
            <pc:sldLayoutMk cId="698059872" sldId="2147484349"/>
          </pc:sldLayoutMkLst>
        </pc:sldLayoutChg>
        <pc:sldLayoutChg chg="replI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989504779" sldId="2147483734"/>
            <pc:sldLayoutMk cId="1402549073" sldId="2147484350"/>
          </pc:sldLayoutMkLst>
        </pc:sldLayoutChg>
        <pc:sldLayoutChg chg="replI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989504779" sldId="2147483734"/>
            <pc:sldLayoutMk cId="3253572214" sldId="2147484351"/>
          </pc:sldLayoutMkLst>
        </pc:sldLayoutChg>
        <pc:sldLayoutChg chg="replI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989504779" sldId="2147483734"/>
            <pc:sldLayoutMk cId="939295337" sldId="2147484352"/>
          </pc:sldLayoutMkLst>
        </pc:sldLayoutChg>
      </pc:sldMasterChg>
      <pc:sldMasterChg chg="add addSldLayout">
        <pc:chgData name="Alana Rivera" userId="S::arg3669@ads.northwestern.edu::fc8b707a-b7e9-4f2a-8d71-2d76819b7881" providerId="AD" clId="Web-{E9F45CD4-CBD2-2E20-8151-01CD3D321C6D}" dt="2023-01-16T16:07:39.732" v="223"/>
        <pc:sldMasterMkLst>
          <pc:docMk/>
          <pc:sldMasterMk cId="3521776840" sldId="2147483775"/>
        </pc:sldMasterMkLst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576198485" sldId="2147483776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754406467" sldId="2147483780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666232222" sldId="2147483781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923139081" sldId="2147483782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113057869" sldId="2147483783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3674483068" sldId="2147483784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248929532" sldId="2147483785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887071657" sldId="2147483786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3638401069" sldId="2147488366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3599785886" sldId="2147488367"/>
          </pc:sldLayoutMkLst>
        </pc:sldLayoutChg>
        <pc:sldLayoutChg chg="add">
          <pc:chgData name="Alana Rivera" userId="S::arg3669@ads.northwestern.edu::fc8b707a-b7e9-4f2a-8d71-2d76819b7881" providerId="AD" clId="Web-{E9F45CD4-CBD2-2E20-8151-01CD3D321C6D}" dt="2023-01-16T16:07:39.732" v="223"/>
          <pc:sldLayoutMkLst>
            <pc:docMk/>
            <pc:sldMasterMk cId="3521776840" sldId="2147483775"/>
            <pc:sldLayoutMk cId="1392845063" sldId="2147488368"/>
          </pc:sldLayoutMkLst>
        </pc:sldLayoutChg>
      </pc:sldMasterChg>
    </pc:docChg>
  </pc:docChgLst>
  <pc:docChgLst>
    <pc:chgData name="Alana Rivera" userId="S::arg3669@ads.northwestern.edu::fc8b707a-b7e9-4f2a-8d71-2d76819b7881" providerId="AD" clId="Web-{16720096-6761-5EB6-B592-BC1E7DB4B4B6}"/>
    <pc:docChg chg="delSld modSld">
      <pc:chgData name="Alana Rivera" userId="S::arg3669@ads.northwestern.edu::fc8b707a-b7e9-4f2a-8d71-2d76819b7881" providerId="AD" clId="Web-{16720096-6761-5EB6-B592-BC1E7DB4B4B6}" dt="2023-12-29T17:25:13.185" v="67" actId="14100"/>
      <pc:docMkLst>
        <pc:docMk/>
      </pc:docMkLst>
      <pc:sldChg chg="del">
        <pc:chgData name="Alana Rivera" userId="S::arg3669@ads.northwestern.edu::fc8b707a-b7e9-4f2a-8d71-2d76819b7881" providerId="AD" clId="Web-{16720096-6761-5EB6-B592-BC1E7DB4B4B6}" dt="2023-12-29T15:54:23.683" v="65"/>
        <pc:sldMkLst>
          <pc:docMk/>
          <pc:sldMk cId="0" sldId="312"/>
        </pc:sldMkLst>
      </pc:sldChg>
      <pc:sldChg chg="addSp delSp modSp">
        <pc:chgData name="Alana Rivera" userId="S::arg3669@ads.northwestern.edu::fc8b707a-b7e9-4f2a-8d71-2d76819b7881" providerId="AD" clId="Web-{16720096-6761-5EB6-B592-BC1E7DB4B4B6}" dt="2023-12-29T17:25:13.185" v="67" actId="14100"/>
        <pc:sldMkLst>
          <pc:docMk/>
          <pc:sldMk cId="89077294" sldId="629"/>
        </pc:sldMkLst>
        <pc:spChg chg="add del mod">
          <ac:chgData name="Alana Rivera" userId="S::arg3669@ads.northwestern.edu::fc8b707a-b7e9-4f2a-8d71-2d76819b7881" providerId="AD" clId="Web-{16720096-6761-5EB6-B592-BC1E7DB4B4B6}" dt="2023-12-29T15:52:13.289" v="19"/>
          <ac:spMkLst>
            <pc:docMk/>
            <pc:sldMk cId="89077294" sldId="629"/>
            <ac:spMk id="3" creationId="{7E3A6875-9C0B-74B3-FCE7-7B6A5CFBE048}"/>
          </ac:spMkLst>
        </pc:spChg>
        <pc:spChg chg="add mod">
          <ac:chgData name="Alana Rivera" userId="S::arg3669@ads.northwestern.edu::fc8b707a-b7e9-4f2a-8d71-2d76819b7881" providerId="AD" clId="Web-{16720096-6761-5EB6-B592-BC1E7DB4B4B6}" dt="2023-12-29T15:52:59.868" v="50" actId="20577"/>
          <ac:spMkLst>
            <pc:docMk/>
            <pc:sldMk cId="89077294" sldId="629"/>
            <ac:spMk id="4" creationId="{BDA293DC-A8D5-42F8-0B28-957637EE16B9}"/>
          </ac:spMkLst>
        </pc:spChg>
        <pc:spChg chg="del">
          <ac:chgData name="Alana Rivera" userId="S::arg3669@ads.northwestern.edu::fc8b707a-b7e9-4f2a-8d71-2d76819b7881" providerId="AD" clId="Web-{16720096-6761-5EB6-B592-BC1E7DB4B4B6}" dt="2023-12-29T15:51:49.351" v="9"/>
          <ac:spMkLst>
            <pc:docMk/>
            <pc:sldMk cId="89077294" sldId="629"/>
            <ac:spMk id="18" creationId="{00000000-0000-0000-0000-000000000000}"/>
          </ac:spMkLst>
        </pc:spChg>
        <pc:spChg chg="mod">
          <ac:chgData name="Alana Rivera" userId="S::arg3669@ads.northwestern.edu::fc8b707a-b7e9-4f2a-8d71-2d76819b7881" providerId="AD" clId="Web-{16720096-6761-5EB6-B592-BC1E7DB4B4B6}" dt="2023-12-29T15:51:55.164" v="15" actId="20577"/>
          <ac:spMkLst>
            <pc:docMk/>
            <pc:sldMk cId="89077294" sldId="629"/>
            <ac:spMk id="22" creationId="{00000000-0000-0000-0000-000000000000}"/>
          </ac:spMkLst>
        </pc:spChg>
        <pc:picChg chg="del">
          <ac:chgData name="Alana Rivera" userId="S::arg3669@ads.northwestern.edu::fc8b707a-b7e9-4f2a-8d71-2d76819b7881" providerId="AD" clId="Web-{16720096-6761-5EB6-B592-BC1E7DB4B4B6}" dt="2023-12-29T15:51:58.305" v="16"/>
          <ac:picMkLst>
            <pc:docMk/>
            <pc:sldMk cId="89077294" sldId="629"/>
            <ac:picMk id="2" creationId="{7EEAC2E7-2DA7-07F0-4602-95197E113BA2}"/>
          </ac:picMkLst>
        </pc:picChg>
        <pc:picChg chg="add mod">
          <ac:chgData name="Alana Rivera" userId="S::arg3669@ads.northwestern.edu::fc8b707a-b7e9-4f2a-8d71-2d76819b7881" providerId="AD" clId="Web-{16720096-6761-5EB6-B592-BC1E7DB4B4B6}" dt="2023-12-29T17:25:13.185" v="67" actId="14100"/>
          <ac:picMkLst>
            <pc:docMk/>
            <pc:sldMk cId="89077294" sldId="629"/>
            <ac:picMk id="5" creationId="{1F9203D6-F8FA-0B9F-2E7D-021E90F8871A}"/>
          </ac:picMkLst>
        </pc:picChg>
      </pc:sldChg>
      <pc:sldChg chg="modSp">
        <pc:chgData name="Alana Rivera" userId="S::arg3669@ads.northwestern.edu::fc8b707a-b7e9-4f2a-8d71-2d76819b7881" providerId="AD" clId="Web-{16720096-6761-5EB6-B592-BC1E7DB4B4B6}" dt="2023-12-29T15:51:22.507" v="1" actId="20577"/>
        <pc:sldMkLst>
          <pc:docMk/>
          <pc:sldMk cId="1191054267" sldId="630"/>
        </pc:sldMkLst>
        <pc:spChg chg="mod">
          <ac:chgData name="Alana Rivera" userId="S::arg3669@ads.northwestern.edu::fc8b707a-b7e9-4f2a-8d71-2d76819b7881" providerId="AD" clId="Web-{16720096-6761-5EB6-B592-BC1E7DB4B4B6}" dt="2023-12-29T15:51:22.507" v="1" actId="20577"/>
          <ac:spMkLst>
            <pc:docMk/>
            <pc:sldMk cId="1191054267" sldId="630"/>
            <ac:spMk id="3" creationId="{86A08B4B-F86A-6136-63E7-55CC5C625A95}"/>
          </ac:spMkLst>
        </pc:spChg>
      </pc:sldChg>
      <pc:sldChg chg="del">
        <pc:chgData name="Alana Rivera" userId="S::arg3669@ads.northwestern.edu::fc8b707a-b7e9-4f2a-8d71-2d76819b7881" providerId="AD" clId="Web-{16720096-6761-5EB6-B592-BC1E7DB4B4B6}" dt="2023-12-29T15:53:55.964" v="58"/>
        <pc:sldMkLst>
          <pc:docMk/>
          <pc:sldMk cId="888239619" sldId="632"/>
        </pc:sldMkLst>
      </pc:sldChg>
      <pc:sldChg chg="modSp del">
        <pc:chgData name="Alana Rivera" userId="S::arg3669@ads.northwestern.edu::fc8b707a-b7e9-4f2a-8d71-2d76819b7881" providerId="AD" clId="Web-{16720096-6761-5EB6-B592-BC1E7DB4B4B6}" dt="2023-12-29T15:53:30.166" v="52"/>
        <pc:sldMkLst>
          <pc:docMk/>
          <pc:sldMk cId="2969493686" sldId="635"/>
        </pc:sldMkLst>
        <pc:spChg chg="mod">
          <ac:chgData name="Alana Rivera" userId="S::arg3669@ads.northwestern.edu::fc8b707a-b7e9-4f2a-8d71-2d76819b7881" providerId="AD" clId="Web-{16720096-6761-5EB6-B592-BC1E7DB4B4B6}" dt="2023-12-29T15:53:25.041" v="51" actId="20577"/>
          <ac:spMkLst>
            <pc:docMk/>
            <pc:sldMk cId="2969493686" sldId="635"/>
            <ac:spMk id="2" creationId="{0C90A595-FD3D-B3D6-8199-F786D57CE5F8}"/>
          </ac:spMkLst>
        </pc:spChg>
      </pc:sldChg>
      <pc:sldChg chg="del">
        <pc:chgData name="Alana Rivera" userId="S::arg3669@ads.northwestern.edu::fc8b707a-b7e9-4f2a-8d71-2d76819b7881" providerId="AD" clId="Web-{16720096-6761-5EB6-B592-BC1E7DB4B4B6}" dt="2023-12-29T15:53:57.432" v="59"/>
        <pc:sldMkLst>
          <pc:docMk/>
          <pc:sldMk cId="1698703941" sldId="642"/>
        </pc:sldMkLst>
      </pc:sldChg>
      <pc:sldChg chg="del">
        <pc:chgData name="Alana Rivera" userId="S::arg3669@ads.northwestern.edu::fc8b707a-b7e9-4f2a-8d71-2d76819b7881" providerId="AD" clId="Web-{16720096-6761-5EB6-B592-BC1E7DB4B4B6}" dt="2023-12-29T15:53:35.229" v="53"/>
        <pc:sldMkLst>
          <pc:docMk/>
          <pc:sldMk cId="3492999049" sldId="668"/>
        </pc:sldMkLst>
      </pc:sldChg>
      <pc:sldChg chg="del">
        <pc:chgData name="Alana Rivera" userId="S::arg3669@ads.northwestern.edu::fc8b707a-b7e9-4f2a-8d71-2d76819b7881" providerId="AD" clId="Web-{16720096-6761-5EB6-B592-BC1E7DB4B4B6}" dt="2023-12-29T15:54:02.964" v="62"/>
        <pc:sldMkLst>
          <pc:docMk/>
          <pc:sldMk cId="3542226056" sldId="709"/>
        </pc:sldMkLst>
      </pc:sldChg>
      <pc:sldChg chg="del">
        <pc:chgData name="Alana Rivera" userId="S::arg3669@ads.northwestern.edu::fc8b707a-b7e9-4f2a-8d71-2d76819b7881" providerId="AD" clId="Web-{16720096-6761-5EB6-B592-BC1E7DB4B4B6}" dt="2023-12-29T15:54:07.542" v="64"/>
        <pc:sldMkLst>
          <pc:docMk/>
          <pc:sldMk cId="1869196504" sldId="710"/>
        </pc:sldMkLst>
      </pc:sldChg>
      <pc:sldChg chg="del">
        <pc:chgData name="Alana Rivera" userId="S::arg3669@ads.northwestern.edu::fc8b707a-b7e9-4f2a-8d71-2d76819b7881" providerId="AD" clId="Web-{16720096-6761-5EB6-B592-BC1E7DB4B4B6}" dt="2023-12-29T15:53:58.573" v="61"/>
        <pc:sldMkLst>
          <pc:docMk/>
          <pc:sldMk cId="1127716331" sldId="712"/>
        </pc:sldMkLst>
      </pc:sldChg>
      <pc:sldChg chg="delSp modSp">
        <pc:chgData name="Alana Rivera" userId="S::arg3669@ads.northwestern.edu::fc8b707a-b7e9-4f2a-8d71-2d76819b7881" providerId="AD" clId="Web-{16720096-6761-5EB6-B592-BC1E7DB4B4B6}" dt="2023-12-29T15:51:42.460" v="8" actId="20577"/>
        <pc:sldMkLst>
          <pc:docMk/>
          <pc:sldMk cId="1192176824" sldId="728"/>
        </pc:sldMkLst>
        <pc:spChg chg="mod">
          <ac:chgData name="Alana Rivera" userId="S::arg3669@ads.northwestern.edu::fc8b707a-b7e9-4f2a-8d71-2d76819b7881" providerId="AD" clId="Web-{16720096-6761-5EB6-B592-BC1E7DB4B4B6}" dt="2023-12-29T15:51:42.460" v="8" actId="20577"/>
          <ac:spMkLst>
            <pc:docMk/>
            <pc:sldMk cId="1192176824" sldId="728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16720096-6761-5EB6-B592-BC1E7DB4B4B6}" dt="2023-12-29T15:51:36.820" v="6" actId="20577"/>
          <ac:spMkLst>
            <pc:docMk/>
            <pc:sldMk cId="1192176824" sldId="728"/>
            <ac:spMk id="3" creationId="{00000000-0000-0000-0000-000000000000}"/>
          </ac:spMkLst>
        </pc:spChg>
        <pc:picChg chg="del">
          <ac:chgData name="Alana Rivera" userId="S::arg3669@ads.northwestern.edu::fc8b707a-b7e9-4f2a-8d71-2d76819b7881" providerId="AD" clId="Web-{16720096-6761-5EB6-B592-BC1E7DB4B4B6}" dt="2023-12-29T15:51:37.554" v="7"/>
          <ac:picMkLst>
            <pc:docMk/>
            <pc:sldMk cId="1192176824" sldId="728"/>
            <ac:picMk id="7" creationId="{00000000-0000-0000-0000-000000000000}"/>
          </ac:picMkLst>
        </pc:picChg>
      </pc:sldChg>
      <pc:sldChg chg="addSp delSp del">
        <pc:chgData name="Alana Rivera" userId="S::arg3669@ads.northwestern.edu::fc8b707a-b7e9-4f2a-8d71-2d76819b7881" providerId="AD" clId="Web-{16720096-6761-5EB6-B592-BC1E7DB4B4B6}" dt="2023-12-29T15:54:04.682" v="63"/>
        <pc:sldMkLst>
          <pc:docMk/>
          <pc:sldMk cId="1102152852" sldId="741"/>
        </pc:sldMkLst>
        <pc:spChg chg="add del">
          <ac:chgData name="Alana Rivera" userId="S::arg3669@ads.northwestern.edu::fc8b707a-b7e9-4f2a-8d71-2d76819b7881" providerId="AD" clId="Web-{16720096-6761-5EB6-B592-BC1E7DB4B4B6}" dt="2023-12-29T15:53:48.276" v="57"/>
          <ac:spMkLst>
            <pc:docMk/>
            <pc:sldMk cId="1102152852" sldId="741"/>
            <ac:spMk id="6" creationId="{4667C198-514F-3158-E586-0BD2C2A68498}"/>
          </ac:spMkLst>
        </pc:spChg>
        <pc:spChg chg="add del">
          <ac:chgData name="Alana Rivera" userId="S::arg3669@ads.northwestern.edu::fc8b707a-b7e9-4f2a-8d71-2d76819b7881" providerId="AD" clId="Web-{16720096-6761-5EB6-B592-BC1E7DB4B4B6}" dt="2023-12-29T15:53:45.807" v="56"/>
          <ac:spMkLst>
            <pc:docMk/>
            <pc:sldMk cId="1102152852" sldId="741"/>
            <ac:spMk id="9" creationId="{7D6EA90E-B5D6-AF35-BA24-92DF0AF47AD2}"/>
          </ac:spMkLst>
        </pc:spChg>
      </pc:sldChg>
      <pc:sldChg chg="del">
        <pc:chgData name="Alana Rivera" userId="S::arg3669@ads.northwestern.edu::fc8b707a-b7e9-4f2a-8d71-2d76819b7881" providerId="AD" clId="Web-{16720096-6761-5EB6-B592-BC1E7DB4B4B6}" dt="2023-12-29T15:53:58.557" v="60"/>
        <pc:sldMkLst>
          <pc:docMk/>
          <pc:sldMk cId="4237431969" sldId="752"/>
        </pc:sldMkLst>
      </pc:sldChg>
    </pc:docChg>
  </pc:docChgLst>
  <pc:docChgLst>
    <pc:chgData name="Aleena Lida Surenian" userId="S::als0813@ads.northwestern.edu::e2fd0e4e-6417-49b0-ab16-0ba26a1719f0" providerId="AD" clId="Web-{664293F3-CA59-B968-471B-B0B1AF51B4AF}"/>
    <pc:docChg chg="modSld">
      <pc:chgData name="Aleena Lida Surenian" userId="S::als0813@ads.northwestern.edu::e2fd0e4e-6417-49b0-ab16-0ba26a1719f0" providerId="AD" clId="Web-{664293F3-CA59-B968-471B-B0B1AF51B4AF}" dt="2023-02-08T19:51:45.276" v="64"/>
      <pc:docMkLst>
        <pc:docMk/>
      </pc:docMkLst>
      <pc:sldChg chg="modSp modCm">
        <pc:chgData name="Aleena Lida Surenian" userId="S::als0813@ads.northwestern.edu::e2fd0e4e-6417-49b0-ab16-0ba26a1719f0" providerId="AD" clId="Web-{664293F3-CA59-B968-471B-B0B1AF51B4AF}" dt="2023-02-08T19:51:45.276" v="64"/>
        <pc:sldMkLst>
          <pc:docMk/>
          <pc:sldMk cId="3366786566" sldId="699"/>
        </pc:sldMkLst>
        <pc:spChg chg="mod">
          <ac:chgData name="Aleena Lida Surenian" userId="S::als0813@ads.northwestern.edu::e2fd0e4e-6417-49b0-ab16-0ba26a1719f0" providerId="AD" clId="Web-{664293F3-CA59-B968-471B-B0B1AF51B4AF}" dt="2023-02-08T19:51:45.276" v="64"/>
          <ac:spMkLst>
            <pc:docMk/>
            <pc:sldMk cId="3366786566" sldId="699"/>
            <ac:spMk id="2" creationId="{054A4674-3AFF-41C5-AE3C-B935BDCD9EDB}"/>
          </ac:spMkLst>
        </pc:spChg>
        <pc:spChg chg="mod">
          <ac:chgData name="Aleena Lida Surenian" userId="S::als0813@ads.northwestern.edu::e2fd0e4e-6417-49b0-ab16-0ba26a1719f0" providerId="AD" clId="Web-{664293F3-CA59-B968-471B-B0B1AF51B4AF}" dt="2023-02-08T19:51:33.853" v="61" actId="20577"/>
          <ac:spMkLst>
            <pc:docMk/>
            <pc:sldMk cId="3366786566" sldId="699"/>
            <ac:spMk id="3" creationId="{1D007C18-B88C-4C75-B296-DD7CD4AC49E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664293F3-CA59-B968-471B-B0B1AF51B4AF}" dt="2023-02-08T19:51:38.666" v="62"/>
              <pc2:cmMkLst xmlns:pc2="http://schemas.microsoft.com/office/powerpoint/2019/9/main/command">
                <pc:docMk/>
                <pc:sldMk cId="3366786566" sldId="699"/>
                <pc2:cmMk id="{5135926C-743B-4F6F-8E49-9C38797F7A0A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93232782-FB60-73D6-85BF-C8088FE89B82}"/>
    <pc:docChg chg="addSld delSld modSld sldOrd">
      <pc:chgData name="Alana Rivera" userId="S::arg3669@ads.northwestern.edu::fc8b707a-b7e9-4f2a-8d71-2d76819b7881" providerId="AD" clId="Web-{93232782-FB60-73D6-85BF-C8088FE89B82}" dt="2023-01-24T17:41:43.763" v="75" actId="20577"/>
      <pc:docMkLst>
        <pc:docMk/>
      </pc:docMkLst>
      <pc:sldChg chg="modSp">
        <pc:chgData name="Alana Rivera" userId="S::arg3669@ads.northwestern.edu::fc8b707a-b7e9-4f2a-8d71-2d76819b7881" providerId="AD" clId="Web-{93232782-FB60-73D6-85BF-C8088FE89B82}" dt="2023-01-24T17:41:43.763" v="75" actId="20577"/>
        <pc:sldMkLst>
          <pc:docMk/>
          <pc:sldMk cId="1545652074" sldId="634"/>
        </pc:sldMkLst>
        <pc:graphicFrameChg chg="modGraphic">
          <ac:chgData name="Alana Rivera" userId="S::arg3669@ads.northwestern.edu::fc8b707a-b7e9-4f2a-8d71-2d76819b7881" providerId="AD" clId="Web-{93232782-FB60-73D6-85BF-C8088FE89B82}" dt="2023-01-24T17:41:43.763" v="75" actId="20577"/>
          <ac:graphicFrameMkLst>
            <pc:docMk/>
            <pc:sldMk cId="1545652074" sldId="634"/>
            <ac:graphicFrameMk id="10" creationId="{26BA9CDE-AC79-8925-884F-AFBD6D6B10EB}"/>
          </ac:graphicFrameMkLst>
        </pc:graphicFrameChg>
      </pc:sldChg>
      <pc:sldChg chg="del">
        <pc:chgData name="Alana Rivera" userId="S::arg3669@ads.northwestern.edu::fc8b707a-b7e9-4f2a-8d71-2d76819b7881" providerId="AD" clId="Web-{93232782-FB60-73D6-85BF-C8088FE89B82}" dt="2023-01-24T17:39:11.197" v="3"/>
        <pc:sldMkLst>
          <pc:docMk/>
          <pc:sldMk cId="629011489" sldId="669"/>
        </pc:sldMkLst>
      </pc:sldChg>
      <pc:sldChg chg="del ord">
        <pc:chgData name="Alana Rivera" userId="S::arg3669@ads.northwestern.edu::fc8b707a-b7e9-4f2a-8d71-2d76819b7881" providerId="AD" clId="Web-{93232782-FB60-73D6-85BF-C8088FE89B82}" dt="2023-01-24T17:39:11.197" v="2"/>
        <pc:sldMkLst>
          <pc:docMk/>
          <pc:sldMk cId="485676429" sldId="682"/>
        </pc:sldMkLst>
      </pc:sldChg>
      <pc:sldChg chg="del">
        <pc:chgData name="Alana Rivera" userId="S::arg3669@ads.northwestern.edu::fc8b707a-b7e9-4f2a-8d71-2d76819b7881" providerId="AD" clId="Web-{93232782-FB60-73D6-85BF-C8088FE89B82}" dt="2023-01-24T17:38:46.759" v="0"/>
        <pc:sldMkLst>
          <pc:docMk/>
          <pc:sldMk cId="446662921" sldId="701"/>
        </pc:sldMkLst>
      </pc:sldChg>
      <pc:sldChg chg="add">
        <pc:chgData name="Alana Rivera" userId="S::arg3669@ads.northwestern.edu::fc8b707a-b7e9-4f2a-8d71-2d76819b7881" providerId="AD" clId="Web-{93232782-FB60-73D6-85BF-C8088FE89B82}" dt="2023-01-24T17:39:20.197" v="4"/>
        <pc:sldMkLst>
          <pc:docMk/>
          <pc:sldMk cId="3705843485" sldId="714"/>
        </pc:sldMkLst>
      </pc:sldChg>
      <pc:sldChg chg="add">
        <pc:chgData name="Alana Rivera" userId="S::arg3669@ads.northwestern.edu::fc8b707a-b7e9-4f2a-8d71-2d76819b7881" providerId="AD" clId="Web-{93232782-FB60-73D6-85BF-C8088FE89B82}" dt="2023-01-24T17:39:20.525" v="5"/>
        <pc:sldMkLst>
          <pc:docMk/>
          <pc:sldMk cId="3278550427" sldId="715"/>
        </pc:sldMkLst>
      </pc:sldChg>
    </pc:docChg>
  </pc:docChgLst>
  <pc:docChgLst>
    <pc:chgData name="Alana Rivera" userId="S::arg3669@ads.northwestern.edu::fc8b707a-b7e9-4f2a-8d71-2d76819b7881" providerId="AD" clId="Web-{D7BFFEA7-56A3-7708-E190-BC24B4EC6C36}"/>
    <pc:docChg chg="modSld">
      <pc:chgData name="Alana Rivera" userId="S::arg3669@ads.northwestern.edu::fc8b707a-b7e9-4f2a-8d71-2d76819b7881" providerId="AD" clId="Web-{D7BFFEA7-56A3-7708-E190-BC24B4EC6C36}" dt="2023-12-27T21:14:58.862" v="24" actId="20577"/>
      <pc:docMkLst>
        <pc:docMk/>
      </pc:docMkLst>
      <pc:sldChg chg="modSp">
        <pc:chgData name="Alana Rivera" userId="S::arg3669@ads.northwestern.edu::fc8b707a-b7e9-4f2a-8d71-2d76819b7881" providerId="AD" clId="Web-{D7BFFEA7-56A3-7708-E190-BC24B4EC6C36}" dt="2023-12-27T21:14:58.862" v="24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D7BFFEA7-56A3-7708-E190-BC24B4EC6C36}" dt="2023-12-27T21:14:58.862" v="24" actId="20577"/>
          <ac:spMkLst>
            <pc:docMk/>
            <pc:sldMk cId="196190430" sldId="645"/>
            <ac:spMk id="3" creationId="{1D742501-F937-8041-84E5-748F96AE991B}"/>
          </ac:spMkLst>
        </pc:spChg>
        <pc:spChg chg="mod">
          <ac:chgData name="Alana Rivera" userId="S::arg3669@ads.northwestern.edu::fc8b707a-b7e9-4f2a-8d71-2d76819b7881" providerId="AD" clId="Web-{D7BFFEA7-56A3-7708-E190-BC24B4EC6C36}" dt="2023-12-27T21:14:27.548" v="20" actId="20577"/>
          <ac:spMkLst>
            <pc:docMk/>
            <pc:sldMk cId="196190430" sldId="645"/>
            <ac:spMk id="7" creationId="{E2FF8D45-BFEB-7CA2-6CDA-61B2AF4C1505}"/>
          </ac:spMkLst>
        </pc:spChg>
        <pc:picChg chg="mod">
          <ac:chgData name="Alana Rivera" userId="S::arg3669@ads.northwestern.edu::fc8b707a-b7e9-4f2a-8d71-2d76819b7881" providerId="AD" clId="Web-{D7BFFEA7-56A3-7708-E190-BC24B4EC6C36}" dt="2023-12-27T21:12:48.295" v="1" actId="14100"/>
          <ac:picMkLst>
            <pc:docMk/>
            <pc:sldMk cId="196190430" sldId="645"/>
            <ac:picMk id="5" creationId="{00000000-0000-0000-0000-000000000000}"/>
          </ac:picMkLst>
        </pc:picChg>
      </pc:sldChg>
    </pc:docChg>
  </pc:docChgLst>
  <pc:docChgLst>
    <pc:chgData name="Aleena Lida Surenian" userId="S::als0813@ads.northwestern.edu::e2fd0e4e-6417-49b0-ab16-0ba26a1719f0" providerId="AD" clId="Web-{4EE1C02A-80CD-0815-B53E-56ADD95932E2}"/>
    <pc:docChg chg="modSld">
      <pc:chgData name="Aleena Lida Surenian" userId="S::als0813@ads.northwestern.edu::e2fd0e4e-6417-49b0-ab16-0ba26a1719f0" providerId="AD" clId="Web-{4EE1C02A-80CD-0815-B53E-56ADD95932E2}" dt="2023-04-11T17:51:28.164" v="716" actId="20577"/>
      <pc:docMkLst>
        <pc:docMk/>
      </pc:docMkLst>
      <pc:sldChg chg="modSp">
        <pc:chgData name="Aleena Lida Surenian" userId="S::als0813@ads.northwestern.edu::e2fd0e4e-6417-49b0-ab16-0ba26a1719f0" providerId="AD" clId="Web-{4EE1C02A-80CD-0815-B53E-56ADD95932E2}" dt="2023-04-11T17:51:28.164" v="716" actId="20577"/>
        <pc:sldMkLst>
          <pc:docMk/>
          <pc:sldMk cId="3104795000" sldId="694"/>
        </pc:sldMkLst>
        <pc:spChg chg="mod">
          <ac:chgData name="Aleena Lida Surenian" userId="S::als0813@ads.northwestern.edu::e2fd0e4e-6417-49b0-ab16-0ba26a1719f0" providerId="AD" clId="Web-{4EE1C02A-80CD-0815-B53E-56ADD95932E2}" dt="2023-04-11T17:51:28.164" v="716" actId="20577"/>
          <ac:spMkLst>
            <pc:docMk/>
            <pc:sldMk cId="3104795000" sldId="694"/>
            <ac:spMk id="3" creationId="{C072A9ED-20FF-40E5-9793-79452C94FE39}"/>
          </ac:spMkLst>
        </pc:spChg>
      </pc:sldChg>
      <pc:sldChg chg="delSp modSp modNotes">
        <pc:chgData name="Aleena Lida Surenian" userId="S::als0813@ads.northwestern.edu::e2fd0e4e-6417-49b0-ab16-0ba26a1719f0" providerId="AD" clId="Web-{4EE1C02A-80CD-0815-B53E-56ADD95932E2}" dt="2023-04-11T17:50:26.380" v="711" actId="20577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4EE1C02A-80CD-0815-B53E-56ADD95932E2}" dt="2023-04-11T17:50:13.208" v="700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4EE1C02A-80CD-0815-B53E-56ADD95932E2}" dt="2023-04-11T17:50:26.380" v="711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4EE1C02A-80CD-0815-B53E-56ADD95932E2}" dt="2023-04-11T17:40:55.658" v="443" actId="1076"/>
          <ac:spMkLst>
            <pc:docMk/>
            <pc:sldMk cId="3682438970" sldId="698"/>
            <ac:spMk id="7" creationId="{E0DDD91A-F49B-E7FA-F65F-DEF38C972D7B}"/>
          </ac:spMkLst>
        </pc:spChg>
        <pc:picChg chg="del">
          <ac:chgData name="Aleena Lida Surenian" userId="S::als0813@ads.northwestern.edu::e2fd0e4e-6417-49b0-ab16-0ba26a1719f0" providerId="AD" clId="Web-{4EE1C02A-80CD-0815-B53E-56ADD95932E2}" dt="2023-04-11T17:41:38.003" v="466"/>
          <ac:picMkLst>
            <pc:docMk/>
            <pc:sldMk cId="3682438970" sldId="698"/>
            <ac:picMk id="8" creationId="{E51EDDD0-61BE-290D-1CC8-6CEE28DB2FD0}"/>
          </ac:picMkLst>
        </pc:picChg>
        <pc:picChg chg="del">
          <ac:chgData name="Aleena Lida Surenian" userId="S::als0813@ads.northwestern.edu::e2fd0e4e-6417-49b0-ab16-0ba26a1719f0" providerId="AD" clId="Web-{4EE1C02A-80CD-0815-B53E-56ADD95932E2}" dt="2023-04-11T17:40:45.814" v="435"/>
          <ac:picMkLst>
            <pc:docMk/>
            <pc:sldMk cId="3682438970" sldId="698"/>
            <ac:picMk id="10" creationId="{E6C7060A-4A80-9065-F485-FF2EFB2A3E04}"/>
          </ac:picMkLst>
        </pc:picChg>
      </pc:sldChg>
      <pc:sldChg chg="delSp modSp modNotes">
        <pc:chgData name="Aleena Lida Surenian" userId="S::als0813@ads.northwestern.edu::e2fd0e4e-6417-49b0-ab16-0ba26a1719f0" providerId="AD" clId="Web-{4EE1C02A-80CD-0815-B53E-56ADD95932E2}" dt="2023-04-11T17:50:31.318" v="712" actId="1076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4EE1C02A-80CD-0815-B53E-56ADD95932E2}" dt="2023-04-11T17:35:12.350" v="381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4EE1C02A-80CD-0815-B53E-56ADD95932E2}" dt="2023-04-11T17:30:48.951" v="69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4EE1C02A-80CD-0815-B53E-56ADD95932E2}" dt="2023-04-11T17:50:31.318" v="712" actId="1076"/>
          <ac:spMkLst>
            <pc:docMk/>
            <pc:sldMk cId="149255822" sldId="700"/>
            <ac:spMk id="6" creationId="{1B118A30-D372-1791-AC9D-F862CEE17DE5}"/>
          </ac:spMkLst>
        </pc:spChg>
        <pc:picChg chg="del">
          <ac:chgData name="Aleena Lida Surenian" userId="S::als0813@ads.northwestern.edu::e2fd0e4e-6417-49b0-ab16-0ba26a1719f0" providerId="AD" clId="Web-{4EE1C02A-80CD-0815-B53E-56ADD95932E2}" dt="2023-04-11T17:21:49.698" v="21"/>
          <ac:picMkLst>
            <pc:docMk/>
            <pc:sldMk cId="149255822" sldId="700"/>
            <ac:picMk id="9" creationId="{CB7B6C7E-057D-FFCA-6E8D-0886B11D8A3D}"/>
          </ac:picMkLst>
        </pc:picChg>
      </pc:sldChg>
    </pc:docChg>
  </pc:docChgLst>
  <pc:docChgLst>
    <pc:chgData name="Eileen Fleming Suse" userId="S::efs3844@ads.northwestern.edu::725c94ef-d051-42d7-9d33-8572765d592b" providerId="AD" clId="Web-{124C520F-A619-B516-462D-F87DD66F9C4B}"/>
    <pc:docChg chg="addSld modSld">
      <pc:chgData name="Eileen Fleming Suse" userId="S::efs3844@ads.northwestern.edu::725c94ef-d051-42d7-9d33-8572765d592b" providerId="AD" clId="Web-{124C520F-A619-B516-462D-F87DD66F9C4B}" dt="2024-01-10T16:04:45.435" v="710"/>
      <pc:docMkLst>
        <pc:docMk/>
      </pc:docMkLst>
      <pc:sldChg chg="modCm">
        <pc:chgData name="Eileen Fleming Suse" userId="S::efs3844@ads.northwestern.edu::725c94ef-d051-42d7-9d33-8572765d592b" providerId="AD" clId="Web-{124C520F-A619-B516-462D-F87DD66F9C4B}" dt="2024-01-10T16:04:45.435" v="710"/>
        <pc:sldMkLst>
          <pc:docMk/>
          <pc:sldMk cId="3589410507" sldId="60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124C520F-A619-B516-462D-F87DD66F9C4B}" dt="2024-01-10T16:04:45.435" v="710"/>
              <pc2:cmMkLst xmlns:pc2="http://schemas.microsoft.com/office/powerpoint/2019/9/main/command">
                <pc:docMk/>
                <pc:sldMk cId="3589410507" sldId="600"/>
                <pc2:cmMk id="{B40447ED-ACBE-431D-A9B3-6C4104A0324E}"/>
              </pc2:cmMkLst>
            </pc226:cmChg>
          </p:ext>
        </pc:extLst>
      </pc:sldChg>
      <pc:sldChg chg="addSp delSp modSp new mod modClrScheme chgLayout">
        <pc:chgData name="Eileen Fleming Suse" userId="S::efs3844@ads.northwestern.edu::725c94ef-d051-42d7-9d33-8572765d592b" providerId="AD" clId="Web-{124C520F-A619-B516-462D-F87DD66F9C4B}" dt="2024-01-10T16:03:23.635" v="709" actId="20577"/>
        <pc:sldMkLst>
          <pc:docMk/>
          <pc:sldMk cId="1982435436" sldId="784"/>
        </pc:sldMkLst>
        <pc:spChg chg="mod ord">
          <ac:chgData name="Eileen Fleming Suse" userId="S::efs3844@ads.northwestern.edu::725c94ef-d051-42d7-9d33-8572765d592b" providerId="AD" clId="Web-{124C520F-A619-B516-462D-F87DD66F9C4B}" dt="2024-01-10T16:03:23.635" v="709" actId="20577"/>
          <ac:spMkLst>
            <pc:docMk/>
            <pc:sldMk cId="1982435436" sldId="784"/>
            <ac:spMk id="2" creationId="{648FBB25-E6AC-43E0-018E-68B40B74197A}"/>
          </ac:spMkLst>
        </pc:spChg>
        <pc:spChg chg="del mod ord">
          <ac:chgData name="Eileen Fleming Suse" userId="S::efs3844@ads.northwestern.edu::725c94ef-d051-42d7-9d33-8572765d592b" providerId="AD" clId="Web-{124C520F-A619-B516-462D-F87DD66F9C4B}" dt="2024-01-10T15:52:14.022" v="4"/>
          <ac:spMkLst>
            <pc:docMk/>
            <pc:sldMk cId="1982435436" sldId="784"/>
            <ac:spMk id="3" creationId="{1446161F-9006-D6B6-CBDC-6FAD3001FFCC}"/>
          </ac:spMkLst>
        </pc:spChg>
        <pc:spChg chg="add del mod">
          <ac:chgData name="Eileen Fleming Suse" userId="S::efs3844@ads.northwestern.edu::725c94ef-d051-42d7-9d33-8572765d592b" providerId="AD" clId="Web-{124C520F-A619-B516-462D-F87DD66F9C4B}" dt="2024-01-10T15:52:17.897" v="5"/>
          <ac:spMkLst>
            <pc:docMk/>
            <pc:sldMk cId="1982435436" sldId="784"/>
            <ac:spMk id="5" creationId="{3463268F-1FF1-0BBA-0B69-2B22F57F4D4D}"/>
          </ac:spMkLst>
        </pc:spChg>
        <pc:graphicFrameChg chg="add mod ord modGraphic">
          <ac:chgData name="Eileen Fleming Suse" userId="S::efs3844@ads.northwestern.edu::725c94ef-d051-42d7-9d33-8572765d592b" providerId="AD" clId="Web-{124C520F-A619-B516-462D-F87DD66F9C4B}" dt="2024-01-10T16:03:07.197" v="694"/>
          <ac:graphicFrameMkLst>
            <pc:docMk/>
            <pc:sldMk cId="1982435436" sldId="784"/>
            <ac:graphicFrameMk id="6" creationId="{BF79D693-9F7A-A3CB-D374-566F28C11E62}"/>
          </ac:graphicFrameMkLst>
        </pc:graphicFrameChg>
        <pc:graphicFrameChg chg="add del mod">
          <ac:chgData name="Eileen Fleming Suse" userId="S::efs3844@ads.northwestern.edu::725c94ef-d051-42d7-9d33-8572765d592b" providerId="AD" clId="Web-{124C520F-A619-B516-462D-F87DD66F9C4B}" dt="2024-01-10T16:00:38.240" v="659"/>
          <ac:graphicFrameMkLst>
            <pc:docMk/>
            <pc:sldMk cId="1982435436" sldId="784"/>
            <ac:graphicFrameMk id="8" creationId="{A5E40C20-5C95-4C0D-46CD-834D1DBB076C}"/>
          </ac:graphicFrameMkLst>
        </pc:graphicFrameChg>
        <pc:graphicFrameChg chg="add mod modGraphic">
          <ac:chgData name="Eileen Fleming Suse" userId="S::efs3844@ads.northwestern.edu::725c94ef-d051-42d7-9d33-8572765d592b" providerId="AD" clId="Web-{124C520F-A619-B516-462D-F87DD66F9C4B}" dt="2024-01-10T16:03:02.260" v="693"/>
          <ac:graphicFrameMkLst>
            <pc:docMk/>
            <pc:sldMk cId="1982435436" sldId="784"/>
            <ac:graphicFrameMk id="10" creationId="{CD362683-C0A7-0C6F-FF3E-E5B0BFB06090}"/>
          </ac:graphicFrameMkLst>
        </pc:graphicFrameChg>
      </pc:sldChg>
    </pc:docChg>
  </pc:docChgLst>
  <pc:docChgLst>
    <pc:chgData name="Alana Rivera" userId="S::arg3669@ads.northwestern.edu::fc8b707a-b7e9-4f2a-8d71-2d76819b7881" providerId="AD" clId="Web-{FC21940A-4794-F2DB-A6AD-E2E5A9374930}"/>
    <pc:docChg chg="modSld">
      <pc:chgData name="Alana Rivera" userId="S::arg3669@ads.northwestern.edu::fc8b707a-b7e9-4f2a-8d71-2d76819b7881" providerId="AD" clId="Web-{FC21940A-4794-F2DB-A6AD-E2E5A9374930}" dt="2023-02-13T18:47:14.297" v="80"/>
      <pc:docMkLst>
        <pc:docMk/>
      </pc:docMkLst>
      <pc:sldChg chg="modSp">
        <pc:chgData name="Alana Rivera" userId="S::arg3669@ads.northwestern.edu::fc8b707a-b7e9-4f2a-8d71-2d76819b7881" providerId="AD" clId="Web-{FC21940A-4794-F2DB-A6AD-E2E5A9374930}" dt="2023-02-13T18:47:14.297" v="80"/>
        <pc:sldMkLst>
          <pc:docMk/>
          <pc:sldMk cId="2179344909" sldId="667"/>
        </pc:sldMkLst>
        <pc:graphicFrameChg chg="mod modGraphic">
          <ac:chgData name="Alana Rivera" userId="S::arg3669@ads.northwestern.edu::fc8b707a-b7e9-4f2a-8d71-2d76819b7881" providerId="AD" clId="Web-{FC21940A-4794-F2DB-A6AD-E2E5A9374930}" dt="2023-02-13T18:47:14.297" v="80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addSp modSp">
        <pc:chgData name="Alana Rivera" userId="S::arg3669@ads.northwestern.edu::fc8b707a-b7e9-4f2a-8d71-2d76819b7881" providerId="AD" clId="Web-{FC21940A-4794-F2DB-A6AD-E2E5A9374930}" dt="2023-02-13T18:45:58.141" v="52" actId="14100"/>
        <pc:sldMkLst>
          <pc:docMk/>
          <pc:sldMk cId="872415970" sldId="697"/>
        </pc:sldMkLst>
        <pc:spChg chg="add mod">
          <ac:chgData name="Alana Rivera" userId="S::arg3669@ads.northwestern.edu::fc8b707a-b7e9-4f2a-8d71-2d76819b7881" providerId="AD" clId="Web-{FC21940A-4794-F2DB-A6AD-E2E5A9374930}" dt="2023-02-13T18:45:58.141" v="52" actId="14100"/>
          <ac:spMkLst>
            <pc:docMk/>
            <pc:sldMk cId="872415970" sldId="697"/>
            <ac:spMk id="3" creationId="{D25DB712-4DDE-CC92-4DDB-B3979D78A1BF}"/>
          </ac:spMkLst>
        </pc:spChg>
        <pc:spChg chg="mod">
          <ac:chgData name="Alana Rivera" userId="S::arg3669@ads.northwestern.edu::fc8b707a-b7e9-4f2a-8d71-2d76819b7881" providerId="AD" clId="Web-{FC21940A-4794-F2DB-A6AD-E2E5A9374930}" dt="2023-02-13T18:43:13.064" v="2" actId="14100"/>
          <ac:spMkLst>
            <pc:docMk/>
            <pc:sldMk cId="872415970" sldId="697"/>
            <ac:spMk id="11" creationId="{9B2F175E-C6F3-BD31-82AA-C92195E2260F}"/>
          </ac:spMkLst>
        </pc:spChg>
      </pc:sldChg>
    </pc:docChg>
  </pc:docChgLst>
  <pc:docChgLst>
    <pc:chgData name="Eileen Fleming Suse" userId="S::efs3844@ads.northwestern.edu::725c94ef-d051-42d7-9d33-8572765d592b" providerId="AD" clId="Web-{F6B4AAF1-8415-AA62-9E6D-4EE5BC12AA50}"/>
    <pc:docChg chg="addSld delSld modSld">
      <pc:chgData name="Eileen Fleming Suse" userId="S::efs3844@ads.northwestern.edu::725c94ef-d051-42d7-9d33-8572765d592b" providerId="AD" clId="Web-{F6B4AAF1-8415-AA62-9E6D-4EE5BC12AA50}" dt="2023-02-08T19:55:40.373" v="195"/>
      <pc:docMkLst>
        <pc:docMk/>
      </pc:docMkLst>
      <pc:sldChg chg="addSp delSp modSp del">
        <pc:chgData name="Eileen Fleming Suse" userId="S::efs3844@ads.northwestern.edu::725c94ef-d051-42d7-9d33-8572765d592b" providerId="AD" clId="Web-{F6B4AAF1-8415-AA62-9E6D-4EE5BC12AA50}" dt="2023-02-08T19:43:27.772" v="167"/>
        <pc:sldMkLst>
          <pc:docMk/>
          <pc:sldMk cId="2880533216" sldId="654"/>
        </pc:sldMkLst>
        <pc:spChg chg="add mod">
          <ac:chgData name="Eileen Fleming Suse" userId="S::efs3844@ads.northwestern.edu::725c94ef-d051-42d7-9d33-8572765d592b" providerId="AD" clId="Web-{F6B4AAF1-8415-AA62-9E6D-4EE5BC12AA50}" dt="2023-02-08T19:40:44.001" v="130"/>
          <ac:spMkLst>
            <pc:docMk/>
            <pc:sldMk cId="2880533216" sldId="654"/>
            <ac:spMk id="6" creationId="{979A09B8-4CFA-AEF8-9BDB-FA2FB7175657}"/>
          </ac:spMkLst>
        </pc:spChg>
        <pc:picChg chg="del">
          <ac:chgData name="Eileen Fleming Suse" userId="S::efs3844@ads.northwestern.edu::725c94ef-d051-42d7-9d33-8572765d592b" providerId="AD" clId="Web-{F6B4AAF1-8415-AA62-9E6D-4EE5BC12AA50}" dt="2023-02-08T19:40:44.001" v="130"/>
          <ac:picMkLst>
            <pc:docMk/>
            <pc:sldMk cId="2880533216" sldId="654"/>
            <ac:picMk id="10" creationId="{C2861DED-743B-3598-AA24-A3D6F7B9E5F2}"/>
          </ac:picMkLst>
        </pc:picChg>
      </pc:sldChg>
      <pc:sldChg chg="modSp modCm">
        <pc:chgData name="Eileen Fleming Suse" userId="S::efs3844@ads.northwestern.edu::725c94ef-d051-42d7-9d33-8572765d592b" providerId="AD" clId="Web-{F6B4AAF1-8415-AA62-9E6D-4EE5BC12AA50}" dt="2023-02-08T19:55:40.373" v="195"/>
        <pc:sldMkLst>
          <pc:docMk/>
          <pc:sldMk cId="248905733" sldId="685"/>
        </pc:sldMkLst>
        <pc:spChg chg="mod">
          <ac:chgData name="Eileen Fleming Suse" userId="S::efs3844@ads.northwestern.edu::725c94ef-d051-42d7-9d33-8572765d592b" providerId="AD" clId="Web-{F6B4AAF1-8415-AA62-9E6D-4EE5BC12AA50}" dt="2023-02-08T19:32:27.721" v="112"/>
          <ac:spMkLst>
            <pc:docMk/>
            <pc:sldMk cId="248905733" sldId="685"/>
            <ac:spMk id="2" creationId="{00000000-0000-0000-0000-000000000000}"/>
          </ac:spMkLst>
        </pc:spChg>
        <pc:spChg chg="mod">
          <ac:chgData name="Eileen Fleming Suse" userId="S::efs3844@ads.northwestern.edu::725c94ef-d051-42d7-9d33-8572765d592b" providerId="AD" clId="Web-{F6B4AAF1-8415-AA62-9E6D-4EE5BC12AA50}" dt="2023-02-08T19:32:22.642" v="111" actId="20577"/>
          <ac:spMkLst>
            <pc:docMk/>
            <pc:sldMk cId="248905733" sldId="685"/>
            <ac:spMk id="3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F6B4AAF1-8415-AA62-9E6D-4EE5BC12AA50}" dt="2023-02-08T19:32:22.642" v="111" actId="20577"/>
              <pc2:cmMkLst xmlns:pc2="http://schemas.microsoft.com/office/powerpoint/2019/9/main/command">
                <pc:docMk/>
                <pc:sldMk cId="248905733" sldId="685"/>
                <pc2:cmMk id="{41EDEC88-98D9-4189-9981-138EB317941A}"/>
              </pc2:cmMkLst>
            </pc226:cmChg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F6B4AAF1-8415-AA62-9E6D-4EE5BC12AA50}" dt="2023-02-08T19:55:40.373" v="195"/>
              <pc2:cmMkLst xmlns:pc2="http://schemas.microsoft.com/office/powerpoint/2019/9/main/command">
                <pc:docMk/>
                <pc:sldMk cId="248905733" sldId="685"/>
                <pc2:cmMk id="{9CB911B3-A9FF-473C-A8E4-447BDC80B7C6}"/>
              </pc2:cmMkLst>
            </pc226:cmChg>
          </p:ext>
        </pc:extLst>
      </pc:sldChg>
      <pc:sldChg chg="modSp modCm">
        <pc:chgData name="Eileen Fleming Suse" userId="S::efs3844@ads.northwestern.edu::725c94ef-d051-42d7-9d33-8572765d592b" providerId="AD" clId="Web-{F6B4AAF1-8415-AA62-9E6D-4EE5BC12AA50}" dt="2023-02-08T19:55:29.701" v="193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F6B4AAF1-8415-AA62-9E6D-4EE5BC12AA50}" dt="2023-02-08T19:55:27.107" v="192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F6B4AAF1-8415-AA62-9E6D-4EE5BC12AA50}" dt="2023-02-08T19:55:22.872" v="191"/>
          <ac:graphicFrameMkLst>
            <pc:docMk/>
            <pc:sldMk cId="1618859033" sldId="693"/>
            <ac:graphicFrameMk id="6" creationId="{ABE664EC-DB8D-1736-BD6F-502306CFE78D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F6B4AAF1-8415-AA62-9E6D-4EE5BC12AA50}" dt="2023-02-08T19:55:29.701" v="193"/>
              <pc2:cmMkLst xmlns:pc2="http://schemas.microsoft.com/office/powerpoint/2019/9/main/command">
                <pc:docMk/>
                <pc:sldMk cId="1618859033" sldId="693"/>
                <pc2:cmMk id="{D64AFCAA-4850-4104-B79D-8D172F24BB30}"/>
              </pc2:cmMkLst>
            </pc226:cmChg>
          </p:ext>
        </pc:extLst>
      </pc:sldChg>
      <pc:sldChg chg="addSp delSp modSp add replId modCm">
        <pc:chgData name="Eileen Fleming Suse" userId="S::efs3844@ads.northwestern.edu::725c94ef-d051-42d7-9d33-8572765d592b" providerId="AD" clId="Web-{F6B4AAF1-8415-AA62-9E6D-4EE5BC12AA50}" dt="2023-02-08T19:55:35.748" v="194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F6B4AAF1-8415-AA62-9E6D-4EE5BC12AA50}" dt="2023-02-08T19:43:18.991" v="166"/>
          <ac:spMkLst>
            <pc:docMk/>
            <pc:sldMk cId="2905881923" sldId="716"/>
            <ac:spMk id="2" creationId="{16817803-E785-34FC-07CE-0897747A5350}"/>
          </ac:spMkLst>
        </pc:spChg>
        <pc:spChg chg="del">
          <ac:chgData name="Eileen Fleming Suse" userId="S::efs3844@ads.northwestern.edu::725c94ef-d051-42d7-9d33-8572765d592b" providerId="AD" clId="Web-{F6B4AAF1-8415-AA62-9E6D-4EE5BC12AA50}" dt="2023-02-08T19:41:15.659" v="132"/>
          <ac:spMkLst>
            <pc:docMk/>
            <pc:sldMk cId="2905881923" sldId="716"/>
            <ac:spMk id="6" creationId="{979A09B8-4CFA-AEF8-9BDB-FA2FB7175657}"/>
          </ac:spMkLst>
        </pc:spChg>
        <pc:spChg chg="mod">
          <ac:chgData name="Eileen Fleming Suse" userId="S::efs3844@ads.northwestern.edu::725c94ef-d051-42d7-9d33-8572765d592b" providerId="AD" clId="Web-{F6B4AAF1-8415-AA62-9E6D-4EE5BC12AA50}" dt="2023-02-08T19:42:35.974" v="158" actId="1076"/>
          <ac:spMkLst>
            <pc:docMk/>
            <pc:sldMk cId="2905881923" sldId="716"/>
            <ac:spMk id="8" creationId="{0CBD5B2B-03FF-8543-39C9-CCD1C8E80C65}"/>
          </ac:spMkLst>
        </pc:spChg>
        <pc:spChg chg="mod">
          <ac:chgData name="Eileen Fleming Suse" userId="S::efs3844@ads.northwestern.edu::725c94ef-d051-42d7-9d33-8572765d592b" providerId="AD" clId="Web-{F6B4AAF1-8415-AA62-9E6D-4EE5BC12AA50}" dt="2023-02-08T19:42:31.286" v="156" actId="1076"/>
          <ac:spMkLst>
            <pc:docMk/>
            <pc:sldMk cId="2905881923" sldId="716"/>
            <ac:spMk id="11" creationId="{EBE5A79F-94B2-2B77-6A66-47A0636E788D}"/>
          </ac:spMkLst>
        </pc:spChg>
        <pc:spChg chg="mod">
          <ac:chgData name="Eileen Fleming Suse" userId="S::efs3844@ads.northwestern.edu::725c94ef-d051-42d7-9d33-8572765d592b" providerId="AD" clId="Web-{F6B4AAF1-8415-AA62-9E6D-4EE5BC12AA50}" dt="2023-02-08T19:42:32.786" v="157" actId="1076"/>
          <ac:spMkLst>
            <pc:docMk/>
            <pc:sldMk cId="2905881923" sldId="716"/>
            <ac:spMk id="12" creationId="{264C5A32-C49E-EB9B-26E3-DEB2108A83B8}"/>
          </ac:spMkLst>
        </pc:spChg>
        <pc:picChg chg="add mod ord">
          <ac:chgData name="Eileen Fleming Suse" userId="S::efs3844@ads.northwestern.edu::725c94ef-d051-42d7-9d33-8572765d592b" providerId="AD" clId="Web-{F6B4AAF1-8415-AA62-9E6D-4EE5BC12AA50}" dt="2023-02-08T19:42:24.270" v="154"/>
          <ac:picMkLst>
            <pc:docMk/>
            <pc:sldMk cId="2905881923" sldId="716"/>
            <ac:picMk id="3" creationId="{A10A0AAF-C4D3-9A68-D31F-D171FB3814DF}"/>
          </ac:picMkLst>
        </pc:picChg>
        <pc:cxnChg chg="mod">
          <ac:chgData name="Eileen Fleming Suse" userId="S::efs3844@ads.northwestern.edu::725c94ef-d051-42d7-9d33-8572765d592b" providerId="AD" clId="Web-{F6B4AAF1-8415-AA62-9E6D-4EE5BC12AA50}" dt="2023-02-08T19:43:07.756" v="164"/>
          <ac:cxnSpMkLst>
            <pc:docMk/>
            <pc:sldMk cId="2905881923" sldId="716"/>
            <ac:cxnSpMk id="7" creationId="{755E37EB-3D36-9482-9CA4-EBFB39C6A532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F6B4AAF1-8415-AA62-9E6D-4EE5BC12AA50}" dt="2023-02-08T19:55:35.748" v="194"/>
              <pc2:cmMkLst xmlns:pc2="http://schemas.microsoft.com/office/powerpoint/2019/9/main/command">
                <pc:docMk/>
                <pc:sldMk cId="2905881923" sldId="716"/>
                <pc2:cmMk id="{084FD015-EBC5-45FD-8A81-3E9D95452FDE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D45A70D9-9186-217F-4CE4-DAAE5F7FC7FE}"/>
    <pc:docChg chg="addSld delSld modSld sldOrd">
      <pc:chgData name="Alana Rivera" userId="S::arg3669@ads.northwestern.edu::fc8b707a-b7e9-4f2a-8d71-2d76819b7881" providerId="AD" clId="Web-{D45A70D9-9186-217F-4CE4-DAAE5F7FC7FE}" dt="2023-03-01T17:58:28.227" v="158"/>
      <pc:docMkLst>
        <pc:docMk/>
      </pc:docMkLst>
      <pc:sldChg chg="addCm">
        <pc:chgData name="Alana Rivera" userId="S::arg3669@ads.northwestern.edu::fc8b707a-b7e9-4f2a-8d71-2d76819b7881" providerId="AD" clId="Web-{D45A70D9-9186-217F-4CE4-DAAE5F7FC7FE}" dt="2023-03-01T17:41:03.643" v="137"/>
        <pc:sldMkLst>
          <pc:docMk/>
          <pc:sldMk cId="3589410507" sldId="60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D45A70D9-9186-217F-4CE4-DAAE5F7FC7FE}" dt="2023-03-01T17:41:03.643" v="137"/>
              <pc2:cmMkLst xmlns:pc2="http://schemas.microsoft.com/office/powerpoint/2019/9/main/command">
                <pc:docMk/>
                <pc:sldMk cId="3589410507" sldId="600"/>
                <pc2:cmMk id="{69ECD05A-4A2D-4918-BEAF-151AF4FE08B4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D45A70D9-9186-217F-4CE4-DAAE5F7FC7FE}" dt="2023-03-01T17:58:08.788" v="157" actId="1076"/>
        <pc:sldMkLst>
          <pc:docMk/>
          <pc:sldMk cId="89077294" sldId="629"/>
        </pc:sldMkLst>
        <pc:spChg chg="mod">
          <ac:chgData name="Alana Rivera" userId="S::arg3669@ads.northwestern.edu::fc8b707a-b7e9-4f2a-8d71-2d76819b7881" providerId="AD" clId="Web-{D45A70D9-9186-217F-4CE4-DAAE5F7FC7FE}" dt="2023-03-01T17:58:08.788" v="157" actId="1076"/>
          <ac:spMkLst>
            <pc:docMk/>
            <pc:sldMk cId="89077294" sldId="629"/>
            <ac:spMk id="10" creationId="{00000000-0000-0000-0000-000000000000}"/>
          </ac:spMkLst>
        </pc:spChg>
      </pc:sldChg>
      <pc:sldChg chg="addCm">
        <pc:chgData name="Alana Rivera" userId="S::arg3669@ads.northwestern.edu::fc8b707a-b7e9-4f2a-8d71-2d76819b7881" providerId="AD" clId="Web-{D45A70D9-9186-217F-4CE4-DAAE5F7FC7FE}" dt="2023-03-01T17:40:29.548" v="136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D45A70D9-9186-217F-4CE4-DAAE5F7FC7FE}" dt="2023-03-01T17:40:29.548" v="136"/>
              <pc2:cmMkLst xmlns:pc2="http://schemas.microsoft.com/office/powerpoint/2019/9/main/command">
                <pc:docMk/>
                <pc:sldMk cId="2371520634" sldId="631"/>
                <pc2:cmMk id="{53BF2EEF-F2EB-4709-B060-56F1BED2ED20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D45A70D9-9186-217F-4CE4-DAAE5F7FC7FE}" dt="2023-03-01T17:57:54.490" v="156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D45A70D9-9186-217F-4CE4-DAAE5F7FC7FE}" dt="2023-03-01T17:57:54.490" v="156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modSp">
        <pc:chgData name="Alana Rivera" userId="S::arg3669@ads.northwestern.edu::fc8b707a-b7e9-4f2a-8d71-2d76819b7881" providerId="AD" clId="Web-{D45A70D9-9186-217F-4CE4-DAAE5F7FC7FE}" dt="2023-03-01T17:34:22.941" v="126"/>
        <pc:sldMkLst>
          <pc:docMk/>
          <pc:sldMk cId="2179344909" sldId="667"/>
        </pc:sldMkLst>
        <pc:spChg chg="mod">
          <ac:chgData name="Alana Rivera" userId="S::arg3669@ads.northwestern.edu::fc8b707a-b7e9-4f2a-8d71-2d76819b7881" providerId="AD" clId="Web-{D45A70D9-9186-217F-4CE4-DAAE5F7FC7FE}" dt="2023-03-01T17:34:01.565" v="107" actId="1076"/>
          <ac:spMkLst>
            <pc:docMk/>
            <pc:sldMk cId="2179344909" sldId="667"/>
            <ac:spMk id="2" creationId="{00000000-0000-0000-0000-000000000000}"/>
          </ac:spMkLst>
        </pc:spChg>
        <pc:graphicFrameChg chg="mod modGraphic">
          <ac:chgData name="Alana Rivera" userId="S::arg3669@ads.northwestern.edu::fc8b707a-b7e9-4f2a-8d71-2d76819b7881" providerId="AD" clId="Web-{D45A70D9-9186-217F-4CE4-DAAE5F7FC7FE}" dt="2023-03-01T17:34:22.941" v="126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modSp">
        <pc:chgData name="Alana Rivera" userId="S::arg3669@ads.northwestern.edu::fc8b707a-b7e9-4f2a-8d71-2d76819b7881" providerId="AD" clId="Web-{D45A70D9-9186-217F-4CE4-DAAE5F7FC7FE}" dt="2023-03-01T17:26:32.753" v="57" actId="1076"/>
        <pc:sldMkLst>
          <pc:docMk/>
          <pc:sldMk cId="777408379" sldId="671"/>
        </pc:sldMkLst>
        <pc:spChg chg="mod">
          <ac:chgData name="Alana Rivera" userId="S::arg3669@ads.northwestern.edu::fc8b707a-b7e9-4f2a-8d71-2d76819b7881" providerId="AD" clId="Web-{D45A70D9-9186-217F-4CE4-DAAE5F7FC7FE}" dt="2023-03-01T17:26:32.753" v="57" actId="1076"/>
          <ac:spMkLst>
            <pc:docMk/>
            <pc:sldMk cId="777408379" sldId="671"/>
            <ac:spMk id="3" creationId="{00000000-0000-0000-0000-000000000000}"/>
          </ac:spMkLst>
        </pc:spChg>
        <pc:graphicFrameChg chg="modGraphic">
          <ac:chgData name="Alana Rivera" userId="S::arg3669@ads.northwestern.edu::fc8b707a-b7e9-4f2a-8d71-2d76819b7881" providerId="AD" clId="Web-{D45A70D9-9186-217F-4CE4-DAAE5F7FC7FE}" dt="2023-03-01T17:26:28.174" v="56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modSp">
        <pc:chgData name="Alana Rivera" userId="S::arg3669@ads.northwestern.edu::fc8b707a-b7e9-4f2a-8d71-2d76819b7881" providerId="AD" clId="Web-{D45A70D9-9186-217F-4CE4-DAAE5F7FC7FE}" dt="2023-03-01T17:07:43.104" v="4"/>
        <pc:sldMkLst>
          <pc:docMk/>
          <pc:sldMk cId="248905733" sldId="685"/>
        </pc:sldMkLst>
        <pc:spChg chg="mod">
          <ac:chgData name="Alana Rivera" userId="S::arg3669@ads.northwestern.edu::fc8b707a-b7e9-4f2a-8d71-2d76819b7881" providerId="AD" clId="Web-{D45A70D9-9186-217F-4CE4-DAAE5F7FC7FE}" dt="2023-03-01T17:07:43.104" v="4"/>
          <ac:spMkLst>
            <pc:docMk/>
            <pc:sldMk cId="248905733" sldId="685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D45A70D9-9186-217F-4CE4-DAAE5F7FC7FE}" dt="2023-03-01T17:07:27.822" v="3"/>
        <pc:sldMkLst>
          <pc:docMk/>
          <pc:sldMk cId="1618859033" sldId="693"/>
        </pc:sldMkLst>
        <pc:spChg chg="mod">
          <ac:chgData name="Alana Rivera" userId="S::arg3669@ads.northwestern.edu::fc8b707a-b7e9-4f2a-8d71-2d76819b7881" providerId="AD" clId="Web-{D45A70D9-9186-217F-4CE4-DAAE5F7FC7FE}" dt="2023-03-01T17:07:27.822" v="3"/>
          <ac:spMkLst>
            <pc:docMk/>
            <pc:sldMk cId="1618859033" sldId="693"/>
            <ac:spMk id="2" creationId="{7719FD7A-7B92-EC42-6554-FA310B6714B1}"/>
          </ac:spMkLst>
        </pc:spChg>
      </pc:sldChg>
      <pc:sldChg chg="ord">
        <pc:chgData name="Alana Rivera" userId="S::arg3669@ads.northwestern.edu::fc8b707a-b7e9-4f2a-8d71-2d76819b7881" providerId="AD" clId="Web-{D45A70D9-9186-217F-4CE4-DAAE5F7FC7FE}" dt="2023-03-01T17:29:35.056" v="60"/>
        <pc:sldMkLst>
          <pc:docMk/>
          <pc:sldMk cId="872415970" sldId="697"/>
        </pc:sldMkLst>
      </pc:sldChg>
      <pc:sldChg chg="modSp">
        <pc:chgData name="Alana Rivera" userId="S::arg3669@ads.northwestern.edu::fc8b707a-b7e9-4f2a-8d71-2d76819b7881" providerId="AD" clId="Web-{D45A70D9-9186-217F-4CE4-DAAE5F7FC7FE}" dt="2023-03-01T17:29:53.166" v="63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D45A70D9-9186-217F-4CE4-DAAE5F7FC7FE}" dt="2023-03-01T17:29:53.166" v="63"/>
          <ac:spMkLst>
            <pc:docMk/>
            <pc:sldMk cId="3682438970" sldId="698"/>
            <ac:spMk id="2" creationId="{7719FD7A-7B92-EC42-6554-FA310B6714B1}"/>
          </ac:spMkLst>
        </pc:spChg>
      </pc:sldChg>
      <pc:sldChg chg="del">
        <pc:chgData name="Alana Rivera" userId="S::arg3669@ads.northwestern.edu::fc8b707a-b7e9-4f2a-8d71-2d76819b7881" providerId="AD" clId="Web-{D45A70D9-9186-217F-4CE4-DAAE5F7FC7FE}" dt="2023-03-01T17:29:43.978" v="61"/>
        <pc:sldMkLst>
          <pc:docMk/>
          <pc:sldMk cId="3366786566" sldId="699"/>
        </pc:sldMkLst>
      </pc:sldChg>
      <pc:sldChg chg="modSp">
        <pc:chgData name="Alana Rivera" userId="S::arg3669@ads.northwestern.edu::fc8b707a-b7e9-4f2a-8d71-2d76819b7881" providerId="AD" clId="Web-{D45A70D9-9186-217F-4CE4-DAAE5F7FC7FE}" dt="2023-03-01T17:29:48.775" v="62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D45A70D9-9186-217F-4CE4-DAAE5F7FC7FE}" dt="2023-03-01T17:29:48.775" v="62"/>
          <ac:spMkLst>
            <pc:docMk/>
            <pc:sldMk cId="149255822" sldId="700"/>
            <ac:spMk id="2" creationId="{7719FD7A-7B92-EC42-6554-FA310B6714B1}"/>
          </ac:spMkLst>
        </pc:spChg>
      </pc:sldChg>
      <pc:sldChg chg="del">
        <pc:chgData name="Alana Rivera" userId="S::arg3669@ads.northwestern.edu::fc8b707a-b7e9-4f2a-8d71-2d76819b7881" providerId="AD" clId="Web-{D45A70D9-9186-217F-4CE4-DAAE5F7FC7FE}" dt="2023-03-01T17:38:54.451" v="127"/>
        <pc:sldMkLst>
          <pc:docMk/>
          <pc:sldMk cId="765836465" sldId="706"/>
        </pc:sldMkLst>
      </pc:sldChg>
      <pc:sldChg chg="del">
        <pc:chgData name="Alana Rivera" userId="S::arg3669@ads.northwestern.edu::fc8b707a-b7e9-4f2a-8d71-2d76819b7881" providerId="AD" clId="Web-{D45A70D9-9186-217F-4CE4-DAAE5F7FC7FE}" dt="2023-03-01T17:38:54.451" v="128"/>
        <pc:sldMkLst>
          <pc:docMk/>
          <pc:sldMk cId="1016233049" sldId="707"/>
        </pc:sldMkLst>
      </pc:sldChg>
      <pc:sldChg chg="modSp">
        <pc:chgData name="Alana Rivera" userId="S::arg3669@ads.northwestern.edu::fc8b707a-b7e9-4f2a-8d71-2d76819b7881" providerId="AD" clId="Web-{D45A70D9-9186-217F-4CE4-DAAE5F7FC7FE}" dt="2023-03-01T17:39:20.326" v="134"/>
        <pc:sldMkLst>
          <pc:docMk/>
          <pc:sldMk cId="1127716331" sldId="712"/>
        </pc:sldMkLst>
        <pc:spChg chg="mod">
          <ac:chgData name="Alana Rivera" userId="S::arg3669@ads.northwestern.edu::fc8b707a-b7e9-4f2a-8d71-2d76819b7881" providerId="AD" clId="Web-{D45A70D9-9186-217F-4CE4-DAAE5F7FC7FE}" dt="2023-03-01T17:39:20.326" v="134"/>
          <ac:spMkLst>
            <pc:docMk/>
            <pc:sldMk cId="1127716331" sldId="712"/>
            <ac:spMk id="2" creationId="{00000000-0000-0000-0000-000000000000}"/>
          </ac:spMkLst>
        </pc:spChg>
      </pc:sldChg>
      <pc:sldChg chg="modSp addCm">
        <pc:chgData name="Alana Rivera" userId="S::arg3669@ads.northwestern.edu::fc8b707a-b7e9-4f2a-8d71-2d76819b7881" providerId="AD" clId="Web-{D45A70D9-9186-217F-4CE4-DAAE5F7FC7FE}" dt="2023-03-01T17:39:55.593" v="135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D45A70D9-9186-217F-4CE4-DAAE5F7FC7FE}" dt="2023-03-01T17:39:18.233" v="133"/>
          <ac:spMkLst>
            <pc:docMk/>
            <pc:sldMk cId="1886867389" sldId="713"/>
            <ac:spMk id="2" creationId="{7719FD7A-7B92-EC42-6554-FA310B6714B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D45A70D9-9186-217F-4CE4-DAAE5F7FC7FE}" dt="2023-03-01T17:39:55.593" v="135"/>
              <pc2:cmMkLst xmlns:pc2="http://schemas.microsoft.com/office/powerpoint/2019/9/main/command">
                <pc:docMk/>
                <pc:sldMk cId="1886867389" sldId="713"/>
                <pc2:cmMk id="{F4ED38CF-BD11-422D-9060-16A2A0BD2F5B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D45A70D9-9186-217F-4CE4-DAAE5F7FC7FE}" dt="2023-03-01T17:10:56.423" v="55" actId="20577"/>
        <pc:sldMkLst>
          <pc:docMk/>
          <pc:sldMk cId="2905881923" sldId="716"/>
        </pc:sldMkLst>
        <pc:spChg chg="mod">
          <ac:chgData name="Alana Rivera" userId="S::arg3669@ads.northwestern.edu::fc8b707a-b7e9-4f2a-8d71-2d76819b7881" providerId="AD" clId="Web-{D45A70D9-9186-217F-4CE4-DAAE5F7FC7FE}" dt="2023-03-01T17:10:56.423" v="55" actId="20577"/>
          <ac:spMkLst>
            <pc:docMk/>
            <pc:sldMk cId="2905881923" sldId="716"/>
            <ac:spMk id="2" creationId="{16817803-E785-34FC-07CE-0897747A5350}"/>
          </ac:spMkLst>
        </pc:spChg>
      </pc:sldChg>
      <pc:sldChg chg="delSp modSp add ord">
        <pc:chgData name="Alana Rivera" userId="S::arg3669@ads.northwestern.edu::fc8b707a-b7e9-4f2a-8d71-2d76819b7881" providerId="AD" clId="Web-{D45A70D9-9186-217F-4CE4-DAAE5F7FC7FE}" dt="2023-03-01T17:09:08.185" v="8"/>
        <pc:sldMkLst>
          <pc:docMk/>
          <pc:sldMk cId="582664129" sldId="718"/>
        </pc:sldMkLst>
        <pc:spChg chg="del mod">
          <ac:chgData name="Alana Rivera" userId="S::arg3669@ads.northwestern.edu::fc8b707a-b7e9-4f2a-8d71-2d76819b7881" providerId="AD" clId="Web-{D45A70D9-9186-217F-4CE4-DAAE5F7FC7FE}" dt="2023-03-01T17:09:08.185" v="8"/>
          <ac:spMkLst>
            <pc:docMk/>
            <pc:sldMk cId="582664129" sldId="718"/>
            <ac:spMk id="2102" creationId="{FEFF9F02-D0C1-A91A-2FE3-BA6D12A814C2}"/>
          </ac:spMkLst>
        </pc:spChg>
      </pc:sldChg>
      <pc:sldChg chg="add">
        <pc:chgData name="Alana Rivera" userId="S::arg3669@ads.northwestern.edu::fc8b707a-b7e9-4f2a-8d71-2d76819b7881" providerId="AD" clId="Web-{D45A70D9-9186-217F-4CE4-DAAE5F7FC7FE}" dt="2023-03-01T17:09:15.404" v="9"/>
        <pc:sldMkLst>
          <pc:docMk/>
          <pc:sldMk cId="2866775474" sldId="719"/>
        </pc:sldMkLst>
      </pc:sldChg>
      <pc:sldChg chg="add">
        <pc:chgData name="Alana Rivera" userId="S::arg3669@ads.northwestern.edu::fc8b707a-b7e9-4f2a-8d71-2d76819b7881" providerId="AD" clId="Web-{D45A70D9-9186-217F-4CE4-DAAE5F7FC7FE}" dt="2023-03-01T17:09:24.217" v="10"/>
        <pc:sldMkLst>
          <pc:docMk/>
          <pc:sldMk cId="289077670" sldId="720"/>
        </pc:sldMkLst>
      </pc:sldChg>
      <pc:sldChg chg="add ord">
        <pc:chgData name="Alana Rivera" userId="S::arg3669@ads.northwestern.edu::fc8b707a-b7e9-4f2a-8d71-2d76819b7881" providerId="AD" clId="Web-{D45A70D9-9186-217F-4CE4-DAAE5F7FC7FE}" dt="2023-03-01T17:09:48.811" v="14"/>
        <pc:sldMkLst>
          <pc:docMk/>
          <pc:sldMk cId="236147203" sldId="721"/>
        </pc:sldMkLst>
      </pc:sldChg>
      <pc:sldChg chg="add ord">
        <pc:chgData name="Alana Rivera" userId="S::arg3669@ads.northwestern.edu::fc8b707a-b7e9-4f2a-8d71-2d76819b7881" providerId="AD" clId="Web-{D45A70D9-9186-217F-4CE4-DAAE5F7FC7FE}" dt="2023-03-01T17:09:47.843" v="13"/>
        <pc:sldMkLst>
          <pc:docMk/>
          <pc:sldMk cId="2343888852" sldId="722"/>
        </pc:sldMkLst>
      </pc:sldChg>
      <pc:sldChg chg="modSp add ord">
        <pc:chgData name="Alana Rivera" userId="S::arg3669@ads.northwestern.edu::fc8b707a-b7e9-4f2a-8d71-2d76819b7881" providerId="AD" clId="Web-{D45A70D9-9186-217F-4CE4-DAAE5F7FC7FE}" dt="2023-03-01T17:10:30.703" v="42" actId="20577"/>
        <pc:sldMkLst>
          <pc:docMk/>
          <pc:sldMk cId="3374929780" sldId="723"/>
        </pc:sldMkLst>
        <pc:spChg chg="mod">
          <ac:chgData name="Alana Rivera" userId="S::arg3669@ads.northwestern.edu::fc8b707a-b7e9-4f2a-8d71-2d76819b7881" providerId="AD" clId="Web-{D45A70D9-9186-217F-4CE4-DAAE5F7FC7FE}" dt="2023-03-01T17:10:30.703" v="42" actId="20577"/>
          <ac:spMkLst>
            <pc:docMk/>
            <pc:sldMk cId="3374929780" sldId="723"/>
            <ac:spMk id="2" creationId="{00000000-0000-0000-0000-000000000000}"/>
          </ac:spMkLst>
        </pc:spChg>
      </pc:sldChg>
      <pc:sldChg chg="add">
        <pc:chgData name="Alana Rivera" userId="S::arg3669@ads.northwestern.edu::fc8b707a-b7e9-4f2a-8d71-2d76819b7881" providerId="AD" clId="Web-{D45A70D9-9186-217F-4CE4-DAAE5F7FC7FE}" dt="2023-03-01T17:27:13.395" v="58"/>
        <pc:sldMkLst>
          <pc:docMk/>
          <pc:sldMk cId="3072489171" sldId="724"/>
        </pc:sldMkLst>
      </pc:sldChg>
      <pc:sldChg chg="add">
        <pc:chgData name="Alana Rivera" userId="S::arg3669@ads.northwestern.edu::fc8b707a-b7e9-4f2a-8d71-2d76819b7881" providerId="AD" clId="Web-{D45A70D9-9186-217F-4CE4-DAAE5F7FC7FE}" dt="2023-03-01T17:28:52.789" v="59"/>
        <pc:sldMkLst>
          <pc:docMk/>
          <pc:sldMk cId="1833157681" sldId="725"/>
        </pc:sldMkLst>
      </pc:sldChg>
      <pc:sldChg chg="add ord">
        <pc:chgData name="Alana Rivera" userId="S::arg3669@ads.northwestern.edu::fc8b707a-b7e9-4f2a-8d71-2d76819b7881" providerId="AD" clId="Web-{D45A70D9-9186-217F-4CE4-DAAE5F7FC7FE}" dt="2023-03-01T17:39:08.045" v="131"/>
        <pc:sldMkLst>
          <pc:docMk/>
          <pc:sldMk cId="398496355" sldId="726"/>
        </pc:sldMkLst>
      </pc:sldChg>
      <pc:sldChg chg="add ord">
        <pc:chgData name="Alana Rivera" userId="S::arg3669@ads.northwestern.edu::fc8b707a-b7e9-4f2a-8d71-2d76819b7881" providerId="AD" clId="Web-{D45A70D9-9186-217F-4CE4-DAAE5F7FC7FE}" dt="2023-03-01T17:39:08.045" v="132"/>
        <pc:sldMkLst>
          <pc:docMk/>
          <pc:sldMk cId="1918637504" sldId="727"/>
        </pc:sldMkLst>
      </pc:sldChg>
      <pc:sldChg chg="add">
        <pc:chgData name="Alana Rivera" userId="S::arg3669@ads.northwestern.edu::fc8b707a-b7e9-4f2a-8d71-2d76819b7881" providerId="AD" clId="Web-{D45A70D9-9186-217F-4CE4-DAAE5F7FC7FE}" dt="2023-03-01T17:58:28.227" v="158"/>
        <pc:sldMkLst>
          <pc:docMk/>
          <pc:sldMk cId="1192176824" sldId="728"/>
        </pc:sldMkLst>
      </pc:sldChg>
      <pc:sldMasterChg chg="addSldLayout">
        <pc:chgData name="Alana Rivera" userId="S::arg3669@ads.northwestern.edu::fc8b707a-b7e9-4f2a-8d71-2d76819b7881" providerId="AD" clId="Web-{D45A70D9-9186-217F-4CE4-DAAE5F7FC7FE}" dt="2023-03-01T17:08:30.652" v="5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1657904224" sldId="2147484222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2979200564" sldId="2147484557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72630080" sldId="2147484566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3083420" sldId="2147484570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1036500789" sldId="2147484572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1993753234" sldId="2147488145"/>
          </pc:sldLayoutMkLst>
        </pc:sldLayoutChg>
        <pc:sldLayoutChg chg="add">
          <pc:chgData name="Alana Rivera" userId="S::arg3669@ads.northwestern.edu::fc8b707a-b7e9-4f2a-8d71-2d76819b7881" providerId="AD" clId="Web-{D45A70D9-9186-217F-4CE4-DAAE5F7FC7FE}" dt="2023-03-01T17:08:30.652" v="5"/>
          <pc:sldLayoutMkLst>
            <pc:docMk/>
            <pc:sldMasterMk cId="989504779" sldId="2147483734"/>
            <pc:sldLayoutMk cId="3430479694" sldId="2147488146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6B2D71C1-F692-2035-136D-A8B2117F8D3D}"/>
    <pc:docChg chg="modSld">
      <pc:chgData name="Aleena Lida Surenian" userId="S::als0813@ads.northwestern.edu::e2fd0e4e-6417-49b0-ab16-0ba26a1719f0" providerId="AD" clId="Web-{6B2D71C1-F692-2035-136D-A8B2117F8D3D}" dt="2023-02-10T18:04:17.074" v="136"/>
      <pc:docMkLst>
        <pc:docMk/>
      </pc:docMkLst>
      <pc:sldChg chg="modSp modCm">
        <pc:chgData name="Aleena Lida Surenian" userId="S::als0813@ads.northwestern.edu::e2fd0e4e-6417-49b0-ab16-0ba26a1719f0" providerId="AD" clId="Web-{6B2D71C1-F692-2035-136D-A8B2117F8D3D}" dt="2023-02-10T18:04:17.074" v="136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6B2D71C1-F692-2035-136D-A8B2117F8D3D}" dt="2023-02-10T18:04:17.074" v="136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6B2D71C1-F692-2035-136D-A8B2117F8D3D}" dt="2023-02-10T18:04:10.261" v="134" actId="20577"/>
          <ac:spMkLst>
            <pc:docMk/>
            <pc:sldMk cId="3682438970" sldId="698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6B2D71C1-F692-2035-136D-A8B2117F8D3D}" dt="2023-02-10T18:04:14.136" v="135"/>
              <pc2:cmMkLst xmlns:pc2="http://schemas.microsoft.com/office/powerpoint/2019/9/main/command">
                <pc:docMk/>
                <pc:sldMk cId="3682438970" sldId="698"/>
                <pc2:cmMk id="{B3138629-38E0-4816-9727-2850E66E2C98}"/>
              </pc2:cmMkLst>
            </pc226:cmChg>
          </p:ext>
        </pc:extLst>
      </pc:sldChg>
      <pc:sldChg chg="modSp modCm">
        <pc:chgData name="Aleena Lida Surenian" userId="S::als0813@ads.northwestern.edu::e2fd0e4e-6417-49b0-ab16-0ba26a1719f0" providerId="AD" clId="Web-{6B2D71C1-F692-2035-136D-A8B2117F8D3D}" dt="2023-02-10T16:35:29.159" v="84" actId="20577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6B2D71C1-F692-2035-136D-A8B2117F8D3D}" dt="2023-02-10T16:33:14.780" v="64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6B2D71C1-F692-2035-136D-A8B2117F8D3D}" dt="2023-02-10T16:35:29.159" v="84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6B2D71C1-F692-2035-136D-A8B2117F8D3D}" dt="2023-02-10T16:33:01.795" v="63" actId="1076"/>
          <ac:spMkLst>
            <pc:docMk/>
            <pc:sldMk cId="149255822" sldId="700"/>
            <ac:spMk id="6" creationId="{1B118A30-D372-1791-AC9D-F862CEE17DE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6B2D71C1-F692-2035-136D-A8B2117F8D3D}" dt="2023-02-10T16:33:36.859" v="71"/>
              <pc2:cmMkLst xmlns:pc2="http://schemas.microsoft.com/office/powerpoint/2019/9/main/command">
                <pc:docMk/>
                <pc:sldMk cId="149255822" sldId="700"/>
                <pc2:cmMk id="{5EF119DC-CC48-46C5-BDFD-2AEE0D0A7BCB}"/>
              </pc2:cmMkLst>
            </pc226:cmChg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6B2D71C1-F692-2035-136D-A8B2117F8D3D}" dt="2023-02-10T16:33:40.343" v="72"/>
              <pc2:cmMkLst xmlns:pc2="http://schemas.microsoft.com/office/powerpoint/2019/9/main/command">
                <pc:docMk/>
                <pc:sldMk cId="149255822" sldId="700"/>
                <pc2:cmMk id="{43B5DDF5-3B44-470F-BABA-05FCAA981081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641EBC4B-6491-14D6-F9D2-2D2609F14097}"/>
    <pc:docChg chg="mod modSld">
      <pc:chgData name="Alana Rivera" userId="S::arg3669@ads.northwestern.edu::fc8b707a-b7e9-4f2a-8d71-2d76819b7881" providerId="AD" clId="Web-{641EBC4B-6491-14D6-F9D2-2D2609F14097}" dt="2024-02-13T19:26:00.800" v="39"/>
      <pc:docMkLst>
        <pc:docMk/>
      </pc:docMkLst>
      <pc:sldChg chg="addCm">
        <pc:chgData name="Alana Rivera" userId="S::arg3669@ads.northwestern.edu::fc8b707a-b7e9-4f2a-8d71-2d76819b7881" providerId="AD" clId="Web-{641EBC4B-6491-14D6-F9D2-2D2609F14097}" dt="2024-02-13T19:24:23.437" v="35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24:23.437" v="35"/>
              <pc2:cmMkLst xmlns:pc2="http://schemas.microsoft.com/office/powerpoint/2019/9/main/command">
                <pc:docMk/>
                <pc:sldMk cId="2371520634" sldId="631"/>
                <pc2:cmMk id="{442B2D05-8512-479F-AF95-C0E8D0B994E5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641EBC4B-6491-14D6-F9D2-2D2609F14097}" dt="2024-02-13T19:13:18.772" v="21" actId="1076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641EBC4B-6491-14D6-F9D2-2D2609F14097}" dt="2024-02-13T19:10:07.796" v="7" actId="1076"/>
          <ac:spMkLst>
            <pc:docMk/>
            <pc:sldMk cId="196190430" sldId="645"/>
            <ac:spMk id="3" creationId="{1D742501-F937-8041-84E5-748F96AE991B}"/>
          </ac:spMkLst>
        </pc:spChg>
        <pc:spChg chg="mod">
          <ac:chgData name="Alana Rivera" userId="S::arg3669@ads.northwestern.edu::fc8b707a-b7e9-4f2a-8d71-2d76819b7881" providerId="AD" clId="Web-{641EBC4B-6491-14D6-F9D2-2D2609F14097}" dt="2024-02-13T19:13:18.631" v="20" actId="20577"/>
          <ac:spMkLst>
            <pc:docMk/>
            <pc:sldMk cId="196190430" sldId="645"/>
            <ac:spMk id="7" creationId="{E2FF8D45-BFEB-7CA2-6CDA-61B2AF4C1505}"/>
          </ac:spMkLst>
        </pc:spChg>
        <pc:picChg chg="mod">
          <ac:chgData name="Alana Rivera" userId="S::arg3669@ads.northwestern.edu::fc8b707a-b7e9-4f2a-8d71-2d76819b7881" providerId="AD" clId="Web-{641EBC4B-6491-14D6-F9D2-2D2609F14097}" dt="2024-02-13T19:13:18.772" v="21" actId="1076"/>
          <ac:picMkLst>
            <pc:docMk/>
            <pc:sldMk cId="196190430" sldId="645"/>
            <ac:picMk id="5" creationId="{00000000-0000-0000-0000-000000000000}"/>
          </ac:picMkLst>
        </pc:picChg>
      </pc:sldChg>
      <pc:sldChg chg="addCm">
        <pc:chgData name="Alana Rivera" userId="S::arg3669@ads.northwestern.edu::fc8b707a-b7e9-4f2a-8d71-2d76819b7881" providerId="AD" clId="Web-{641EBC4B-6491-14D6-F9D2-2D2609F14097}" dt="2024-02-13T19:22:41.902" v="33"/>
        <pc:sldMkLst>
          <pc:docMk/>
          <pc:sldMk cId="3682438970" sldId="69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22:41.902" v="33"/>
              <pc2:cmMkLst xmlns:pc2="http://schemas.microsoft.com/office/powerpoint/2019/9/main/command">
                <pc:docMk/>
                <pc:sldMk cId="3682438970" sldId="698"/>
                <pc2:cmMk id="{150F9455-1A12-4D16-AB1C-6DA912E26C6C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641EBC4B-6491-14D6-F9D2-2D2609F14097}" dt="2024-02-13T19:22:17.573" v="32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641EBC4B-6491-14D6-F9D2-2D2609F14097}" dt="2024-02-13T19:17:13.156" v="31"/>
          <ac:spMkLst>
            <pc:docMk/>
            <pc:sldMk cId="149255822" sldId="700"/>
            <ac:spMk id="2" creationId="{7719FD7A-7B92-EC42-6554-FA310B6714B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22:17.573" v="32"/>
              <pc2:cmMkLst xmlns:pc2="http://schemas.microsoft.com/office/powerpoint/2019/9/main/command">
                <pc:docMk/>
                <pc:sldMk cId="149255822" sldId="700"/>
                <pc2:cmMk id="{F00E7238-F5A4-4A04-94AB-F4BB4DE2A10D}"/>
              </pc2:cmMkLst>
            </pc226:cmChg>
          </p:ext>
        </pc:extLst>
      </pc:sldChg>
      <pc:sldChg chg="modSp addCm delCm">
        <pc:chgData name="Alana Rivera" userId="S::arg3669@ads.northwestern.edu::fc8b707a-b7e9-4f2a-8d71-2d76819b7881" providerId="AD" clId="Web-{641EBC4B-6491-14D6-F9D2-2D2609F14097}" dt="2024-02-13T19:23:53.608" v="34"/>
        <pc:sldMkLst>
          <pc:docMk/>
          <pc:sldMk cId="1982435436" sldId="784"/>
        </pc:sldMkLst>
        <pc:spChg chg="mod">
          <ac:chgData name="Alana Rivera" userId="S::arg3669@ads.northwestern.edu::fc8b707a-b7e9-4f2a-8d71-2d76819b7881" providerId="AD" clId="Web-{641EBC4B-6491-14D6-F9D2-2D2609F14097}" dt="2024-02-13T19:14:55.166" v="27"/>
          <ac:spMkLst>
            <pc:docMk/>
            <pc:sldMk cId="1982435436" sldId="784"/>
            <ac:spMk id="2" creationId="{648FBB25-E6AC-43E0-018E-68B40B74197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23:53.608" v="34"/>
              <pc2:cmMkLst xmlns:pc2="http://schemas.microsoft.com/office/powerpoint/2019/9/main/command">
                <pc:docMk/>
                <pc:sldMk cId="1982435436" sldId="784"/>
                <pc2:cmMk id="{B4C67E16-B8A7-40D8-8EE3-2C2C12B32B06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641EBC4B-6491-14D6-F9D2-2D2609F14097}" dt="2024-02-13T19:15:03.104" v="28"/>
              <pc2:cmMkLst xmlns:pc2="http://schemas.microsoft.com/office/powerpoint/2019/9/main/command">
                <pc:docMk/>
                <pc:sldMk cId="1982435436" sldId="784"/>
                <pc2:cmMk id="{2AD81A66-B318-4779-B728-DF95F209397B}"/>
              </pc2:cmMkLst>
            </pc226:cmChg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16:39.436" v="30"/>
              <pc2:cmMkLst xmlns:pc2="http://schemas.microsoft.com/office/powerpoint/2019/9/main/command">
                <pc:docMk/>
                <pc:sldMk cId="1982435436" sldId="784"/>
                <pc2:cmMk id="{39245BE5-181E-42E7-8A85-C78CE5D052A9}"/>
              </pc2:cmMkLst>
            </pc226:cmChg>
          </p:ext>
        </pc:extLst>
      </pc:sldChg>
      <pc:sldChg chg="modSp addCm delCm">
        <pc:chgData name="Alana Rivera" userId="S::arg3669@ads.northwestern.edu::fc8b707a-b7e9-4f2a-8d71-2d76819b7881" providerId="AD" clId="Web-{641EBC4B-6491-14D6-F9D2-2D2609F14097}" dt="2024-02-13T19:26:00.800" v="39"/>
        <pc:sldMkLst>
          <pc:docMk/>
          <pc:sldMk cId="1112372070" sldId="824"/>
        </pc:sldMkLst>
        <pc:spChg chg="mod">
          <ac:chgData name="Alana Rivera" userId="S::arg3669@ads.northwestern.edu::fc8b707a-b7e9-4f2a-8d71-2d76819b7881" providerId="AD" clId="Web-{641EBC4B-6491-14D6-F9D2-2D2609F14097}" dt="2024-02-13T19:25:05.876" v="38"/>
          <ac:spMkLst>
            <pc:docMk/>
            <pc:sldMk cId="1112372070" sldId="824"/>
            <ac:spMk id="2" creationId="{3FB4878F-0400-AE7C-3EEE-62994307E9E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41EBC4B-6491-14D6-F9D2-2D2609F14097}" dt="2024-02-13T19:26:00.800" v="39"/>
              <pc2:cmMkLst xmlns:pc2="http://schemas.microsoft.com/office/powerpoint/2019/9/main/command">
                <pc:docMk/>
                <pc:sldMk cId="1112372070" sldId="824"/>
                <pc2:cmMk id="{D422CD30-1246-401D-9F07-611C89168E5D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641EBC4B-6491-14D6-F9D2-2D2609F14097}" dt="2024-02-13T19:24:54.376" v="36"/>
              <pc2:cmMkLst xmlns:pc2="http://schemas.microsoft.com/office/powerpoint/2019/9/main/command">
                <pc:docMk/>
                <pc:sldMk cId="1112372070" sldId="824"/>
                <pc2:cmMk id="{01F2BFB4-0AC3-41E8-9239-F8CEC7A4AA19}"/>
              </pc2:cmMkLst>
            </pc226:cmChg>
          </p:ext>
        </pc:extLst>
      </pc:sldChg>
    </pc:docChg>
  </pc:docChgLst>
  <pc:docChgLst>
    <pc:chgData name="Aleena Lida Surenian" userId="S::als0813@ads.northwestern.edu::e2fd0e4e-6417-49b0-ab16-0ba26a1719f0" providerId="AD" clId="Web-{186D04E5-821F-2C05-6A32-0FE8ECB94ACB}"/>
    <pc:docChg chg="addSld delSld modSld">
      <pc:chgData name="Aleena Lida Surenian" userId="S::als0813@ads.northwestern.edu::e2fd0e4e-6417-49b0-ab16-0ba26a1719f0" providerId="AD" clId="Web-{186D04E5-821F-2C05-6A32-0FE8ECB94ACB}" dt="2024-01-11T16:01:29.382" v="152" actId="20577"/>
      <pc:docMkLst>
        <pc:docMk/>
      </pc:docMkLst>
      <pc:sldChg chg="modSp">
        <pc:chgData name="Aleena Lida Surenian" userId="S::als0813@ads.northwestern.edu::e2fd0e4e-6417-49b0-ab16-0ba26a1719f0" providerId="AD" clId="Web-{186D04E5-821F-2C05-6A32-0FE8ECB94ACB}" dt="2024-01-11T16:01:29.382" v="152" actId="20577"/>
        <pc:sldMkLst>
          <pc:docMk/>
          <pc:sldMk cId="3104795000" sldId="694"/>
        </pc:sldMkLst>
        <pc:spChg chg="mod">
          <ac:chgData name="Aleena Lida Surenian" userId="S::als0813@ads.northwestern.edu::e2fd0e4e-6417-49b0-ab16-0ba26a1719f0" providerId="AD" clId="Web-{186D04E5-821F-2C05-6A32-0FE8ECB94ACB}" dt="2024-01-11T16:01:29.382" v="152" actId="20577"/>
          <ac:spMkLst>
            <pc:docMk/>
            <pc:sldMk cId="3104795000" sldId="694"/>
            <ac:spMk id="3" creationId="{C072A9ED-20FF-40E5-9793-79452C94FE39}"/>
          </ac:spMkLst>
        </pc:spChg>
      </pc:sldChg>
      <pc:sldChg chg="modSp modCm">
        <pc:chgData name="Aleena Lida Surenian" userId="S::als0813@ads.northwestern.edu::e2fd0e4e-6417-49b0-ab16-0ba26a1719f0" providerId="AD" clId="Web-{186D04E5-821F-2C05-6A32-0FE8ECB94ACB}" dt="2024-01-11T16:00:48.256" v="109" actId="20577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186D04E5-821F-2C05-6A32-0FE8ECB94ACB}" dt="2024-01-11T15:53:17.808" v="94" actId="20577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186D04E5-821F-2C05-6A32-0FE8ECB94ACB}" dt="2024-01-11T16:00:48.256" v="109" actId="20577"/>
          <ac:spMkLst>
            <pc:docMk/>
            <pc:sldMk cId="3682438970" sldId="698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186D04E5-821F-2C05-6A32-0FE8ECB94ACB}" dt="2024-01-11T15:53:15.199" v="93" actId="20577"/>
              <pc2:cmMkLst xmlns:pc2="http://schemas.microsoft.com/office/powerpoint/2019/9/main/command">
                <pc:docMk/>
                <pc:sldMk cId="3682438970" sldId="698"/>
                <pc2:cmMk id="{B3138629-38E0-4816-9727-2850E66E2C98}"/>
              </pc2:cmMkLst>
            </pc226:cmChg>
          </p:ext>
        </pc:extLst>
      </pc:sldChg>
      <pc:sldChg chg="modSp">
        <pc:chgData name="Aleena Lida Surenian" userId="S::als0813@ads.northwestern.edu::e2fd0e4e-6417-49b0-ab16-0ba26a1719f0" providerId="AD" clId="Web-{186D04E5-821F-2C05-6A32-0FE8ECB94ACB}" dt="2024-01-11T15:50:25.821" v="28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186D04E5-821F-2C05-6A32-0FE8ECB94ACB}" dt="2024-01-11T15:50:25.821" v="28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186D04E5-821F-2C05-6A32-0FE8ECB94ACB}" dt="2024-01-11T15:50:23.429" v="27" actId="20577"/>
          <ac:spMkLst>
            <pc:docMk/>
            <pc:sldMk cId="149255822" sldId="700"/>
            <ac:spMk id="3" creationId="{1419A524-96F5-A0B2-CACE-F9567471AB2E}"/>
          </ac:spMkLst>
        </pc:spChg>
      </pc:sldChg>
      <pc:sldChg chg="modSp">
        <pc:chgData name="Aleena Lida Surenian" userId="S::als0813@ads.northwestern.edu::e2fd0e4e-6417-49b0-ab16-0ba26a1719f0" providerId="AD" clId="Web-{186D04E5-821F-2C05-6A32-0FE8ECB94ACB}" dt="2024-01-11T14:40:43.003" v="1" actId="20577"/>
        <pc:sldMkLst>
          <pc:docMk/>
          <pc:sldMk cId="2462434254" sldId="809"/>
        </pc:sldMkLst>
        <pc:spChg chg="mod">
          <ac:chgData name="Aleena Lida Surenian" userId="S::als0813@ads.northwestern.edu::e2fd0e4e-6417-49b0-ab16-0ba26a1719f0" providerId="AD" clId="Web-{186D04E5-821F-2C05-6A32-0FE8ECB94ACB}" dt="2024-01-11T14:40:43.003" v="1" actId="20577"/>
          <ac:spMkLst>
            <pc:docMk/>
            <pc:sldMk cId="2462434254" sldId="809"/>
            <ac:spMk id="19" creationId="{00000000-0000-0000-0000-000000000000}"/>
          </ac:spMkLst>
        </pc:spChg>
      </pc:sldChg>
      <pc:sldChg chg="del">
        <pc:chgData name="Aleena Lida Surenian" userId="S::als0813@ads.northwestern.edu::e2fd0e4e-6417-49b0-ab16-0ba26a1719f0" providerId="AD" clId="Web-{186D04E5-821F-2C05-6A32-0FE8ECB94ACB}" dt="2024-01-11T14:42:37.662" v="3"/>
        <pc:sldMkLst>
          <pc:docMk/>
          <pc:sldMk cId="3466460771" sldId="812"/>
        </pc:sldMkLst>
      </pc:sldChg>
      <pc:sldChg chg="add">
        <pc:chgData name="Aleena Lida Surenian" userId="S::als0813@ads.northwestern.edu::e2fd0e4e-6417-49b0-ab16-0ba26a1719f0" providerId="AD" clId="Web-{186D04E5-821F-2C05-6A32-0FE8ECB94ACB}" dt="2024-01-11T14:42:33.521" v="2"/>
        <pc:sldMkLst>
          <pc:docMk/>
          <pc:sldMk cId="2688480143" sldId="821"/>
        </pc:sldMkLst>
      </pc:sldChg>
    </pc:docChg>
  </pc:docChgLst>
  <pc:docChgLst>
    <pc:chgData name="Alana Rivera" userId="S::arg3669@ads.northwestern.edu::fc8b707a-b7e9-4f2a-8d71-2d76819b7881" providerId="AD" clId="Web-{0C6098F6-AE7F-C8F9-E232-83BF6DFDE59C}"/>
    <pc:docChg chg="addSld delSld modSld sldOrd modMainMaster">
      <pc:chgData name="Alana Rivera" userId="S::arg3669@ads.northwestern.edu::fc8b707a-b7e9-4f2a-8d71-2d76819b7881" providerId="AD" clId="Web-{0C6098F6-AE7F-C8F9-E232-83BF6DFDE59C}" dt="2023-01-12T21:56:46.722" v="236" actId="20577"/>
      <pc:docMkLst>
        <pc:docMk/>
      </pc:docMkLst>
      <pc:sldChg chg="del">
        <pc:chgData name="Alana Rivera" userId="S::arg3669@ads.northwestern.edu::fc8b707a-b7e9-4f2a-8d71-2d76819b7881" providerId="AD" clId="Web-{0C6098F6-AE7F-C8F9-E232-83BF6DFDE59C}" dt="2023-01-12T18:02:39.801" v="4"/>
        <pc:sldMkLst>
          <pc:docMk/>
          <pc:sldMk cId="0" sldId="256"/>
        </pc:sldMkLst>
      </pc:sldChg>
      <pc:sldChg chg="modSp ord">
        <pc:chgData name="Alana Rivera" userId="S::arg3669@ads.northwestern.edu::fc8b707a-b7e9-4f2a-8d71-2d76819b7881" providerId="AD" clId="Web-{0C6098F6-AE7F-C8F9-E232-83BF6DFDE59C}" dt="2023-01-12T18:02:53.161" v="7" actId="20577"/>
        <pc:sldMkLst>
          <pc:docMk/>
          <pc:sldMk cId="2364613253" sldId="566"/>
        </pc:sldMkLst>
        <pc:spChg chg="mod">
          <ac:chgData name="Alana Rivera" userId="S::arg3669@ads.northwestern.edu::fc8b707a-b7e9-4f2a-8d71-2d76819b7881" providerId="AD" clId="Web-{0C6098F6-AE7F-C8F9-E232-83BF6DFDE59C}" dt="2023-01-12T18:02:53.161" v="7" actId="20577"/>
          <ac:spMkLst>
            <pc:docMk/>
            <pc:sldMk cId="2364613253" sldId="566"/>
            <ac:spMk id="3" creationId="{00000000-0000-0000-0000-000000000000}"/>
          </ac:spMkLst>
        </pc:spChg>
      </pc:sldChg>
      <pc:sldChg chg="modSp ord">
        <pc:chgData name="Alana Rivera" userId="S::arg3669@ads.northwestern.edu::fc8b707a-b7e9-4f2a-8d71-2d76819b7881" providerId="AD" clId="Web-{0C6098F6-AE7F-C8F9-E232-83BF6DFDE59C}" dt="2023-01-12T21:53:05.622" v="161" actId="20577"/>
        <pc:sldMkLst>
          <pc:docMk/>
          <pc:sldMk cId="3589410507" sldId="600"/>
        </pc:sldMkLst>
        <pc:spChg chg="mod">
          <ac:chgData name="Alana Rivera" userId="S::arg3669@ads.northwestern.edu::fc8b707a-b7e9-4f2a-8d71-2d76819b7881" providerId="AD" clId="Web-{0C6098F6-AE7F-C8F9-E232-83BF6DFDE59C}" dt="2023-01-12T21:53:05.622" v="161" actId="20577"/>
          <ac:spMkLst>
            <pc:docMk/>
            <pc:sldMk cId="3589410507" sldId="600"/>
            <ac:spMk id="3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0C6098F6-AE7F-C8F9-E232-83BF6DFDE59C}" dt="2023-01-12T21:51:03.197" v="154"/>
        <pc:sldMkLst>
          <pc:docMk/>
          <pc:sldMk cId="1283513989" sldId="620"/>
        </pc:sldMkLst>
      </pc:sldChg>
      <pc:sldChg chg="modSp">
        <pc:chgData name="Alana Rivera" userId="S::arg3669@ads.northwestern.edu::fc8b707a-b7e9-4f2a-8d71-2d76819b7881" providerId="AD" clId="Web-{0C6098F6-AE7F-C8F9-E232-83BF6DFDE59C}" dt="2023-01-12T21:52:52.388" v="160" actId="20577"/>
        <pc:sldMkLst>
          <pc:docMk/>
          <pc:sldMk cId="1191054267" sldId="630"/>
        </pc:sldMkLst>
        <pc:spChg chg="mod">
          <ac:chgData name="Alana Rivera" userId="S::arg3669@ads.northwestern.edu::fc8b707a-b7e9-4f2a-8d71-2d76819b7881" providerId="AD" clId="Web-{0C6098F6-AE7F-C8F9-E232-83BF6DFDE59C}" dt="2023-01-12T21:52:52.388" v="160" actId="20577"/>
          <ac:spMkLst>
            <pc:docMk/>
            <pc:sldMk cId="1191054267" sldId="630"/>
            <ac:spMk id="3" creationId="{86A08B4B-F86A-6136-63E7-55CC5C625A95}"/>
          </ac:spMkLst>
        </pc:spChg>
      </pc:sldChg>
      <pc:sldChg chg="modSp">
        <pc:chgData name="Alana Rivera" userId="S::arg3669@ads.northwestern.edu::fc8b707a-b7e9-4f2a-8d71-2d76819b7881" providerId="AD" clId="Web-{0C6098F6-AE7F-C8F9-E232-83BF6DFDE59C}" dt="2023-01-12T21:51:51.151" v="155" actId="20577"/>
        <pc:sldMkLst>
          <pc:docMk/>
          <pc:sldMk cId="780674383" sldId="637"/>
        </pc:sldMkLst>
        <pc:spChg chg="mod">
          <ac:chgData name="Alana Rivera" userId="S::arg3669@ads.northwestern.edu::fc8b707a-b7e9-4f2a-8d71-2d76819b7881" providerId="AD" clId="Web-{0C6098F6-AE7F-C8F9-E232-83BF6DFDE59C}" dt="2023-01-12T21:51:51.151" v="155" actId="20577"/>
          <ac:spMkLst>
            <pc:docMk/>
            <pc:sldMk cId="780674383" sldId="637"/>
            <ac:spMk id="3" creationId="{DA50930E-26CA-0055-B236-924BCF7AB59F}"/>
          </ac:spMkLst>
        </pc:spChg>
      </pc:sldChg>
      <pc:sldChg chg="del">
        <pc:chgData name="Alana Rivera" userId="S::arg3669@ads.northwestern.edu::fc8b707a-b7e9-4f2a-8d71-2d76819b7881" providerId="AD" clId="Web-{0C6098F6-AE7F-C8F9-E232-83BF6DFDE59C}" dt="2023-01-12T20:01:12.919" v="147"/>
        <pc:sldMkLst>
          <pc:docMk/>
          <pc:sldMk cId="1146515898" sldId="638"/>
        </pc:sldMkLst>
      </pc:sldChg>
      <pc:sldChg chg="del ord">
        <pc:chgData name="Alana Rivera" userId="S::arg3669@ads.northwestern.edu::fc8b707a-b7e9-4f2a-8d71-2d76819b7881" providerId="AD" clId="Web-{0C6098F6-AE7F-C8F9-E232-83BF6DFDE59C}" dt="2023-01-12T20:01:15.903" v="148"/>
        <pc:sldMkLst>
          <pc:docMk/>
          <pc:sldMk cId="3978068538" sldId="639"/>
        </pc:sldMkLst>
      </pc:sldChg>
      <pc:sldChg chg="modSp">
        <pc:chgData name="Alana Rivera" userId="S::arg3669@ads.northwestern.edu::fc8b707a-b7e9-4f2a-8d71-2d76819b7881" providerId="AD" clId="Web-{0C6098F6-AE7F-C8F9-E232-83BF6DFDE59C}" dt="2023-01-12T17:29:26.424" v="3" actId="14100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0C6098F6-AE7F-C8F9-E232-83BF6DFDE59C}" dt="2023-01-12T17:29:26.424" v="3" actId="14100"/>
          <ac:spMkLst>
            <pc:docMk/>
            <pc:sldMk cId="196190430" sldId="645"/>
            <ac:spMk id="3" creationId="{1D742501-F937-8041-84E5-748F96AE991B}"/>
          </ac:spMkLst>
        </pc:spChg>
        <pc:picChg chg="mod">
          <ac:chgData name="Alana Rivera" userId="S::arg3669@ads.northwestern.edu::fc8b707a-b7e9-4f2a-8d71-2d76819b7881" providerId="AD" clId="Web-{0C6098F6-AE7F-C8F9-E232-83BF6DFDE59C}" dt="2023-01-12T17:29:20.517" v="2" actId="1076"/>
          <ac:picMkLst>
            <pc:docMk/>
            <pc:sldMk cId="196190430" sldId="645"/>
            <ac:picMk id="5" creationId="{00000000-0000-0000-0000-000000000000}"/>
          </ac:picMkLst>
        </pc:picChg>
      </pc:sldChg>
      <pc:sldChg chg="modSp add">
        <pc:chgData name="Alana Rivera" userId="S::arg3669@ads.northwestern.edu::fc8b707a-b7e9-4f2a-8d71-2d76819b7881" providerId="AD" clId="Web-{0C6098F6-AE7F-C8F9-E232-83BF6DFDE59C}" dt="2023-01-12T21:53:57.264" v="164" actId="20577"/>
        <pc:sldMkLst>
          <pc:docMk/>
          <pc:sldMk cId="2948974662" sldId="646"/>
        </pc:sldMkLst>
        <pc:spChg chg="mod">
          <ac:chgData name="Alana Rivera" userId="S::arg3669@ads.northwestern.edu::fc8b707a-b7e9-4f2a-8d71-2d76819b7881" providerId="AD" clId="Web-{0C6098F6-AE7F-C8F9-E232-83BF6DFDE59C}" dt="2023-01-12T21:53:57.264" v="164" actId="20577"/>
          <ac:spMkLst>
            <pc:docMk/>
            <pc:sldMk cId="2948974662" sldId="646"/>
            <ac:spMk id="2" creationId="{2FC3A287-9C16-3B45-3A1A-AA8110AD0747}"/>
          </ac:spMkLst>
        </pc:spChg>
      </pc:sldChg>
      <pc:sldChg chg="addSp delSp modSp add">
        <pc:chgData name="Alana Rivera" userId="S::arg3669@ads.northwestern.edu::fc8b707a-b7e9-4f2a-8d71-2d76819b7881" providerId="AD" clId="Web-{0C6098F6-AE7F-C8F9-E232-83BF6DFDE59C}" dt="2023-01-12T21:54:34.969" v="175" actId="20577"/>
        <pc:sldMkLst>
          <pc:docMk/>
          <pc:sldMk cId="381378734" sldId="647"/>
        </pc:sldMkLst>
        <pc:spChg chg="mod">
          <ac:chgData name="Alana Rivera" userId="S::arg3669@ads.northwestern.edu::fc8b707a-b7e9-4f2a-8d71-2d76819b7881" providerId="AD" clId="Web-{0C6098F6-AE7F-C8F9-E232-83BF6DFDE59C}" dt="2023-01-12T21:54:34.969" v="175" actId="20577"/>
          <ac:spMkLst>
            <pc:docMk/>
            <pc:sldMk cId="381378734" sldId="647"/>
            <ac:spMk id="3" creationId="{00000000-0000-0000-0000-000000000000}"/>
          </ac:spMkLst>
        </pc:spChg>
        <pc:spChg chg="add del mod">
          <ac:chgData name="Alana Rivera" userId="S::arg3669@ads.northwestern.edu::fc8b707a-b7e9-4f2a-8d71-2d76819b7881" providerId="AD" clId="Web-{0C6098F6-AE7F-C8F9-E232-83BF6DFDE59C}" dt="2023-01-12T21:54:15.374" v="168"/>
          <ac:spMkLst>
            <pc:docMk/>
            <pc:sldMk cId="381378734" sldId="647"/>
            <ac:spMk id="4" creationId="{E9F30E4B-E863-7217-9007-FDF9CB60FE1B}"/>
          </ac:spMkLst>
        </pc:spChg>
      </pc:sldChg>
      <pc:sldChg chg="add ord">
        <pc:chgData name="Alana Rivera" userId="S::arg3669@ads.northwestern.edu::fc8b707a-b7e9-4f2a-8d71-2d76819b7881" providerId="AD" clId="Web-{0C6098F6-AE7F-C8F9-E232-83BF6DFDE59C}" dt="2023-01-12T20:00:22.042" v="146"/>
        <pc:sldMkLst>
          <pc:docMk/>
          <pc:sldMk cId="832258605" sldId="648"/>
        </pc:sldMkLst>
      </pc:sldChg>
      <pc:sldChg chg="add">
        <pc:chgData name="Alana Rivera" userId="S::arg3669@ads.northwestern.edu::fc8b707a-b7e9-4f2a-8d71-2d76819b7881" providerId="AD" clId="Web-{0C6098F6-AE7F-C8F9-E232-83BF6DFDE59C}" dt="2023-01-12T19:12:59.264" v="13"/>
        <pc:sldMkLst>
          <pc:docMk/>
          <pc:sldMk cId="1270144332" sldId="649"/>
        </pc:sldMkLst>
      </pc:sldChg>
      <pc:sldChg chg="add">
        <pc:chgData name="Alana Rivera" userId="S::arg3669@ads.northwestern.edu::fc8b707a-b7e9-4f2a-8d71-2d76819b7881" providerId="AD" clId="Web-{0C6098F6-AE7F-C8F9-E232-83BF6DFDE59C}" dt="2023-01-12T19:12:59.577" v="14"/>
        <pc:sldMkLst>
          <pc:docMk/>
          <pc:sldMk cId="1160821147" sldId="650"/>
        </pc:sldMkLst>
      </pc:sldChg>
      <pc:sldChg chg="add">
        <pc:chgData name="Alana Rivera" userId="S::arg3669@ads.northwestern.edu::fc8b707a-b7e9-4f2a-8d71-2d76819b7881" providerId="AD" clId="Web-{0C6098F6-AE7F-C8F9-E232-83BF6DFDE59C}" dt="2023-01-12T19:12:59.827" v="15"/>
        <pc:sldMkLst>
          <pc:docMk/>
          <pc:sldMk cId="809116715" sldId="651"/>
        </pc:sldMkLst>
      </pc:sldChg>
      <pc:sldChg chg="modSp add ord">
        <pc:chgData name="Alana Rivera" userId="S::arg3669@ads.northwestern.edu::fc8b707a-b7e9-4f2a-8d71-2d76819b7881" providerId="AD" clId="Web-{0C6098F6-AE7F-C8F9-E232-83BF6DFDE59C}" dt="2023-01-12T21:50:39.868" v="152"/>
        <pc:sldMkLst>
          <pc:docMk/>
          <pc:sldMk cId="3930713224" sldId="652"/>
        </pc:sldMkLst>
        <pc:spChg chg="mod">
          <ac:chgData name="Alana Rivera" userId="S::arg3669@ads.northwestern.edu::fc8b707a-b7e9-4f2a-8d71-2d76819b7881" providerId="AD" clId="Web-{0C6098F6-AE7F-C8F9-E232-83BF6DFDE59C}" dt="2023-01-12T19:15:04.862" v="95" actId="20577"/>
          <ac:spMkLst>
            <pc:docMk/>
            <pc:sldMk cId="3930713224" sldId="652"/>
            <ac:spMk id="3" creationId="{C072A9ED-20FF-40E5-9793-79452C94FE39}"/>
          </ac:spMkLst>
        </pc:spChg>
      </pc:sldChg>
      <pc:sldChg chg="modSp add">
        <pc:chgData name="Alana Rivera" userId="S::arg3669@ads.northwestern.edu::fc8b707a-b7e9-4f2a-8d71-2d76819b7881" providerId="AD" clId="Web-{0C6098F6-AE7F-C8F9-E232-83BF6DFDE59C}" dt="2023-01-12T21:56:46.722" v="236" actId="20577"/>
        <pc:sldMkLst>
          <pc:docMk/>
          <pc:sldMk cId="1933816182" sldId="653"/>
        </pc:sldMkLst>
        <pc:spChg chg="mod">
          <ac:chgData name="Alana Rivera" userId="S::arg3669@ads.northwestern.edu::fc8b707a-b7e9-4f2a-8d71-2d76819b7881" providerId="AD" clId="Web-{0C6098F6-AE7F-C8F9-E232-83BF6DFDE59C}" dt="2023-01-12T21:55:54.596" v="180" actId="20577"/>
          <ac:spMkLst>
            <pc:docMk/>
            <pc:sldMk cId="1933816182" sldId="653"/>
            <ac:spMk id="2" creationId="{F24BA90C-5649-48AE-B68F-85A4B6957F93}"/>
          </ac:spMkLst>
        </pc:spChg>
        <pc:spChg chg="mod">
          <ac:chgData name="Alana Rivera" userId="S::arg3669@ads.northwestern.edu::fc8b707a-b7e9-4f2a-8d71-2d76819b7881" providerId="AD" clId="Web-{0C6098F6-AE7F-C8F9-E232-83BF6DFDE59C}" dt="2023-01-12T21:56:46.722" v="236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add">
        <pc:chgData name="Alana Rivera" userId="S::arg3669@ads.northwestern.edu::fc8b707a-b7e9-4f2a-8d71-2d76819b7881" providerId="AD" clId="Web-{0C6098F6-AE7F-C8F9-E232-83BF6DFDE59C}" dt="2023-01-12T19:59:26.446" v="97"/>
        <pc:sldMkLst>
          <pc:docMk/>
          <pc:sldMk cId="2880533216" sldId="654"/>
        </pc:sldMkLst>
      </pc:sldChg>
      <pc:sldChg chg="modSp add">
        <pc:chgData name="Alana Rivera" userId="S::arg3669@ads.northwestern.edu::fc8b707a-b7e9-4f2a-8d71-2d76819b7881" providerId="AD" clId="Web-{0C6098F6-AE7F-C8F9-E232-83BF6DFDE59C}" dt="2023-01-12T21:55:11.501" v="179" actId="20577"/>
        <pc:sldMkLst>
          <pc:docMk/>
          <pc:sldMk cId="2924007217" sldId="655"/>
        </pc:sldMkLst>
        <pc:spChg chg="mod">
          <ac:chgData name="Alana Rivera" userId="S::arg3669@ads.northwestern.edu::fc8b707a-b7e9-4f2a-8d71-2d76819b7881" providerId="AD" clId="Web-{0C6098F6-AE7F-C8F9-E232-83BF6DFDE59C}" dt="2023-01-12T21:55:11.501" v="179" actId="20577"/>
          <ac:spMkLst>
            <pc:docMk/>
            <pc:sldMk cId="2924007217" sldId="655"/>
            <ac:spMk id="3" creationId="{00000000-0000-0000-0000-000000000000}"/>
          </ac:spMkLst>
        </pc:spChg>
      </pc:sldChg>
      <pc:sldChg chg="add">
        <pc:chgData name="Alana Rivera" userId="S::arg3669@ads.northwestern.edu::fc8b707a-b7e9-4f2a-8d71-2d76819b7881" providerId="AD" clId="Web-{0C6098F6-AE7F-C8F9-E232-83BF6DFDE59C}" dt="2023-01-12T19:59:27.008" v="99"/>
        <pc:sldMkLst>
          <pc:docMk/>
          <pc:sldMk cId="1334474965" sldId="656"/>
        </pc:sldMkLst>
      </pc:sldChg>
      <pc:sldChg chg="add">
        <pc:chgData name="Alana Rivera" userId="S::arg3669@ads.northwestern.edu::fc8b707a-b7e9-4f2a-8d71-2d76819b7881" providerId="AD" clId="Web-{0C6098F6-AE7F-C8F9-E232-83BF6DFDE59C}" dt="2023-01-12T19:59:27.430" v="100"/>
        <pc:sldMkLst>
          <pc:docMk/>
          <pc:sldMk cId="2827188898" sldId="657"/>
        </pc:sldMkLst>
      </pc:sldChg>
      <pc:sldChg chg="modSp new">
        <pc:chgData name="Alana Rivera" userId="S::arg3669@ads.northwestern.edu::fc8b707a-b7e9-4f2a-8d71-2d76819b7881" providerId="AD" clId="Web-{0C6098F6-AE7F-C8F9-E232-83BF6DFDE59C}" dt="2023-01-12T20:00:08.510" v="145"/>
        <pc:sldMkLst>
          <pc:docMk/>
          <pc:sldMk cId="2333205164" sldId="658"/>
        </pc:sldMkLst>
        <pc:spChg chg="mod">
          <ac:chgData name="Alana Rivera" userId="S::arg3669@ads.northwestern.edu::fc8b707a-b7e9-4f2a-8d71-2d76819b7881" providerId="AD" clId="Web-{0C6098F6-AE7F-C8F9-E232-83BF6DFDE59C}" dt="2023-01-12T20:00:08.510" v="145"/>
          <ac:spMkLst>
            <pc:docMk/>
            <pc:sldMk cId="2333205164" sldId="658"/>
            <ac:spMk id="2" creationId="{7719FD7A-7B92-EC42-6554-FA310B6714B1}"/>
          </ac:spMkLst>
        </pc:spChg>
      </pc:sldChg>
      <pc:sldMasterChg chg="modSldLayout">
        <pc:chgData name="Alana Rivera" userId="S::arg3669@ads.northwestern.edu::fc8b707a-b7e9-4f2a-8d71-2d76819b7881" providerId="AD" clId="Web-{0C6098F6-AE7F-C8F9-E232-83BF6DFDE59C}" dt="2023-01-12T19:12:58.905" v="12"/>
        <pc:sldMasterMkLst>
          <pc:docMk/>
          <pc:sldMasterMk cId="3510105812" sldId="2147483702"/>
        </pc:sldMasterMkLst>
        <pc:sldLayoutChg chg="replI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3510105812" sldId="2147483702"/>
            <pc:sldLayoutMk cId="1954700046" sldId="2147484347"/>
          </pc:sldLayoutMkLst>
        </pc:sldLayoutChg>
        <pc:sldLayoutChg chg="replI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3510105812" sldId="2147483702"/>
            <pc:sldLayoutMk cId="1991346037" sldId="2147484348"/>
          </pc:sldLayoutMkLst>
        </pc:sldLayoutChg>
      </pc:sldMasterChg>
      <pc:sldMasterChg chg="addSldLayout modSldLayout">
        <pc:chgData name="Alana Rivera" userId="S::arg3669@ads.northwestern.edu::fc8b707a-b7e9-4f2a-8d71-2d76819b7881" providerId="AD" clId="Web-{0C6098F6-AE7F-C8F9-E232-83BF6DFDE59C}" dt="2023-01-12T19:12:58.905" v="12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3082224325" sldId="2147483703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3195676063" sldId="2147483713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4291076637" sldId="2147483833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4040902241" sldId="2147483834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2781420108" sldId="2147483835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2979200564" sldId="2147483836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838803846" sldId="2147483838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1546898753" sldId="2147483839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2210091495" sldId="2147483840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3314599787" sldId="2147483841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3791682188" sldId="2147483842"/>
          </pc:sldLayoutMkLst>
        </pc:sldLayoutChg>
        <pc:sldLayoutChg chg="replI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3377496322" sldId="2147484346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2422401269" sldId="2147484573"/>
          </pc:sldLayoutMkLst>
        </pc:sldLayoutChg>
        <pc:sldLayoutChg chg="add">
          <pc:chgData name="Alana Rivera" userId="S::arg3669@ads.northwestern.edu::fc8b707a-b7e9-4f2a-8d71-2d76819b7881" providerId="AD" clId="Web-{0C6098F6-AE7F-C8F9-E232-83BF6DFDE59C}" dt="2023-01-12T19:12:58.905" v="12"/>
          <pc:sldLayoutMkLst>
            <pc:docMk/>
            <pc:sldMasterMk cId="989504779" sldId="2147483734"/>
            <pc:sldLayoutMk cId="298148766" sldId="2147488179"/>
          </pc:sldLayoutMkLst>
        </pc:sldLayoutChg>
      </pc:sldMasterChg>
    </pc:docChg>
  </pc:docChgLst>
  <pc:docChgLst>
    <pc:chgData name="Alana Rivera" userId="S::arg3669@ads.northwestern.edu::fc8b707a-b7e9-4f2a-8d71-2d76819b7881" providerId="AD" clId="Web-{11B7517F-5905-AD91-BD7B-0867C5A73C56}"/>
    <pc:docChg chg="addSld delSld modSld sldOrd">
      <pc:chgData name="Alana Rivera" userId="S::arg3669@ads.northwestern.edu::fc8b707a-b7e9-4f2a-8d71-2d76819b7881" providerId="AD" clId="Web-{11B7517F-5905-AD91-BD7B-0867C5A73C56}" dt="2023-01-16T18:49:44.690" v="371"/>
      <pc:docMkLst>
        <pc:docMk/>
      </pc:docMkLst>
      <pc:sldChg chg="modSp">
        <pc:chgData name="Alana Rivera" userId="S::arg3669@ads.northwestern.edu::fc8b707a-b7e9-4f2a-8d71-2d76819b7881" providerId="AD" clId="Web-{11B7517F-5905-AD91-BD7B-0867C5A73C56}" dt="2023-01-16T17:49:16.038" v="29" actId="20577"/>
        <pc:sldMkLst>
          <pc:docMk/>
          <pc:sldMk cId="3589410507" sldId="600"/>
        </pc:sldMkLst>
        <pc:spChg chg="mod">
          <ac:chgData name="Alana Rivera" userId="S::arg3669@ads.northwestern.edu::fc8b707a-b7e9-4f2a-8d71-2d76819b7881" providerId="AD" clId="Web-{11B7517F-5905-AD91-BD7B-0867C5A73C56}" dt="2023-01-16T17:49:16.038" v="29" actId="20577"/>
          <ac:spMkLst>
            <pc:docMk/>
            <pc:sldMk cId="3589410507" sldId="600"/>
            <ac:spMk id="2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11B7517F-5905-AD91-BD7B-0867C5A73C56}" dt="2023-01-16T18:46:40.138" v="343"/>
        <pc:sldMkLst>
          <pc:docMk/>
          <pc:sldMk cId="4124632746" sldId="628"/>
        </pc:sldMkLst>
      </pc:sldChg>
      <pc:sldChg chg="modSp modNotes">
        <pc:chgData name="Alana Rivera" userId="S::arg3669@ads.northwestern.edu::fc8b707a-b7e9-4f2a-8d71-2d76819b7881" providerId="AD" clId="Web-{11B7517F-5905-AD91-BD7B-0867C5A73C56}" dt="2023-01-16T18:49:44.690" v="371"/>
        <pc:sldMkLst>
          <pc:docMk/>
          <pc:sldMk cId="2335050651" sldId="641"/>
        </pc:sldMkLst>
        <pc:spChg chg="mod">
          <ac:chgData name="Alana Rivera" userId="S::arg3669@ads.northwestern.edu::fc8b707a-b7e9-4f2a-8d71-2d76819b7881" providerId="AD" clId="Web-{11B7517F-5905-AD91-BD7B-0867C5A73C56}" dt="2023-01-16T18:48:37.125" v="349"/>
          <ac:spMkLst>
            <pc:docMk/>
            <pc:sldMk cId="2335050651" sldId="641"/>
            <ac:spMk id="2" creationId="{4454D9D2-FD51-4B03-BD7A-F1350B0E301B}"/>
          </ac:spMkLst>
        </pc:spChg>
      </pc:sldChg>
      <pc:sldChg chg="del ord">
        <pc:chgData name="Alana Rivera" userId="S::arg3669@ads.northwestern.edu::fc8b707a-b7e9-4f2a-8d71-2d76819b7881" providerId="AD" clId="Web-{11B7517F-5905-AD91-BD7B-0867C5A73C56}" dt="2023-01-16T18:45:52.855" v="335"/>
        <pc:sldMkLst>
          <pc:docMk/>
          <pc:sldMk cId="322239113" sldId="665"/>
        </pc:sldMkLst>
      </pc:sldChg>
      <pc:sldChg chg="addSp delSp modSp">
        <pc:chgData name="Alana Rivera" userId="S::arg3669@ads.northwestern.edu::fc8b707a-b7e9-4f2a-8d71-2d76819b7881" providerId="AD" clId="Web-{11B7517F-5905-AD91-BD7B-0867C5A73C56}" dt="2023-01-16T18:10:17.598" v="266"/>
        <pc:sldMkLst>
          <pc:docMk/>
          <pc:sldMk cId="2179344909" sldId="667"/>
        </pc:sldMkLst>
        <pc:spChg chg="mod">
          <ac:chgData name="Alana Rivera" userId="S::arg3669@ads.northwestern.edu::fc8b707a-b7e9-4f2a-8d71-2d76819b7881" providerId="AD" clId="Web-{11B7517F-5905-AD91-BD7B-0867C5A73C56}" dt="2023-01-16T18:09:53.082" v="252" actId="20577"/>
          <ac:spMkLst>
            <pc:docMk/>
            <pc:sldMk cId="2179344909" sldId="667"/>
            <ac:spMk id="2" creationId="{00000000-0000-0000-0000-000000000000}"/>
          </ac:spMkLst>
        </pc:spChg>
        <pc:graphicFrameChg chg="add mod modGraphic">
          <ac:chgData name="Alana Rivera" userId="S::arg3669@ads.northwestern.edu::fc8b707a-b7e9-4f2a-8d71-2d76819b7881" providerId="AD" clId="Web-{11B7517F-5905-AD91-BD7B-0867C5A73C56}" dt="2023-01-16T18:10:17.598" v="266"/>
          <ac:graphicFrameMkLst>
            <pc:docMk/>
            <pc:sldMk cId="2179344909" sldId="667"/>
            <ac:graphicFrameMk id="6" creationId="{4EB21917-3091-CB43-A4C2-56C90035CAC0}"/>
          </ac:graphicFrameMkLst>
        </pc:graphicFrameChg>
        <pc:graphicFrameChg chg="add del mod">
          <ac:chgData name="Alana Rivera" userId="S::arg3669@ads.northwestern.edu::fc8b707a-b7e9-4f2a-8d71-2d76819b7881" providerId="AD" clId="Web-{11B7517F-5905-AD91-BD7B-0867C5A73C56}" dt="2023-01-16T18:05:24.385" v="239"/>
          <ac:graphicFrameMkLst>
            <pc:docMk/>
            <pc:sldMk cId="2179344909" sldId="667"/>
            <ac:graphicFrameMk id="8" creationId="{0B32F8B6-9425-5883-8193-DFA24AC64CAD}"/>
          </ac:graphicFrameMkLst>
        </pc:graphicFrameChg>
        <pc:graphicFrameChg chg="del mod modGraphic">
          <ac:chgData name="Alana Rivera" userId="S::arg3669@ads.northwestern.edu::fc8b707a-b7e9-4f2a-8d71-2d76819b7881" providerId="AD" clId="Web-{11B7517F-5905-AD91-BD7B-0867C5A73C56}" dt="2023-01-16T18:03:14.927" v="139"/>
          <ac:graphicFrameMkLst>
            <pc:docMk/>
            <pc:sldMk cId="2179344909" sldId="667"/>
            <ac:graphicFrameMk id="458" creationId="{6B8DD92D-FC61-B8CD-3116-E6D4BC770D0C}"/>
          </ac:graphicFrameMkLst>
        </pc:graphicFrameChg>
        <pc:picChg chg="del">
          <ac:chgData name="Alana Rivera" userId="S::arg3669@ads.northwestern.edu::fc8b707a-b7e9-4f2a-8d71-2d76819b7881" providerId="AD" clId="Web-{11B7517F-5905-AD91-BD7B-0867C5A73C56}" dt="2023-01-16T18:04:00.085" v="165"/>
          <ac:picMkLst>
            <pc:docMk/>
            <pc:sldMk cId="2179344909" sldId="667"/>
            <ac:picMk id="479" creationId="{843CD5E3-5569-66AE-9C08-081E41E8E295}"/>
          </ac:picMkLst>
        </pc:picChg>
      </pc:sldChg>
      <pc:sldChg chg="modSp">
        <pc:chgData name="Alana Rivera" userId="S::arg3669@ads.northwestern.edu::fc8b707a-b7e9-4f2a-8d71-2d76819b7881" providerId="AD" clId="Web-{11B7517F-5905-AD91-BD7B-0867C5A73C56}" dt="2023-01-16T17:49:03.819" v="28"/>
        <pc:sldMkLst>
          <pc:docMk/>
          <pc:sldMk cId="777408379" sldId="671"/>
        </pc:sldMkLst>
        <pc:spChg chg="mod">
          <ac:chgData name="Alana Rivera" userId="S::arg3669@ads.northwestern.edu::fc8b707a-b7e9-4f2a-8d71-2d76819b7881" providerId="AD" clId="Web-{11B7517F-5905-AD91-BD7B-0867C5A73C56}" dt="2023-01-16T17:48:13.223" v="0" actId="20577"/>
          <ac:spMkLst>
            <pc:docMk/>
            <pc:sldMk cId="777408379" sldId="671"/>
            <ac:spMk id="2" creationId="{8DA65B7D-6357-F0A1-4ACA-818B5F3700C0}"/>
          </ac:spMkLst>
        </pc:spChg>
        <pc:spChg chg="mod">
          <ac:chgData name="Alana Rivera" userId="S::arg3669@ads.northwestern.edu::fc8b707a-b7e9-4f2a-8d71-2d76819b7881" providerId="AD" clId="Web-{11B7517F-5905-AD91-BD7B-0867C5A73C56}" dt="2023-01-16T17:48:19.583" v="1"/>
          <ac:spMkLst>
            <pc:docMk/>
            <pc:sldMk cId="777408379" sldId="671"/>
            <ac:spMk id="3" creationId="{00000000-0000-0000-0000-000000000000}"/>
          </ac:spMkLst>
        </pc:spChg>
        <pc:graphicFrameChg chg="mod modGraphic">
          <ac:chgData name="Alana Rivera" userId="S::arg3669@ads.northwestern.edu::fc8b707a-b7e9-4f2a-8d71-2d76819b7881" providerId="AD" clId="Web-{11B7517F-5905-AD91-BD7B-0867C5A73C56}" dt="2023-01-16T17:49:03.819" v="28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add del">
        <pc:chgData name="Alana Rivera" userId="S::arg3669@ads.northwestern.edu::fc8b707a-b7e9-4f2a-8d71-2d76819b7881" providerId="AD" clId="Web-{11B7517F-5905-AD91-BD7B-0867C5A73C56}" dt="2023-01-16T18:46:18.747" v="341"/>
        <pc:sldMkLst>
          <pc:docMk/>
          <pc:sldMk cId="3971080552" sldId="672"/>
        </pc:sldMkLst>
      </pc:sldChg>
      <pc:sldChg chg="add">
        <pc:chgData name="Alana Rivera" userId="S::arg3669@ads.northwestern.edu::fc8b707a-b7e9-4f2a-8d71-2d76819b7881" providerId="AD" clId="Web-{11B7517F-5905-AD91-BD7B-0867C5A73C56}" dt="2023-01-16T18:11:54.399" v="268"/>
        <pc:sldMkLst>
          <pc:docMk/>
          <pc:sldMk cId="2726265585" sldId="673"/>
        </pc:sldMkLst>
      </pc:sldChg>
      <pc:sldChg chg="add modNotes">
        <pc:chgData name="Alana Rivera" userId="S::arg3669@ads.northwestern.edu::fc8b707a-b7e9-4f2a-8d71-2d76819b7881" providerId="AD" clId="Web-{11B7517F-5905-AD91-BD7B-0867C5A73C56}" dt="2023-01-16T18:14:38.248" v="333"/>
        <pc:sldMkLst>
          <pc:docMk/>
          <pc:sldMk cId="1906776872" sldId="674"/>
        </pc:sldMkLst>
      </pc:sldChg>
      <pc:sldChg chg="add del">
        <pc:chgData name="Alana Rivera" userId="S::arg3669@ads.northwestern.edu::fc8b707a-b7e9-4f2a-8d71-2d76819b7881" providerId="AD" clId="Web-{11B7517F-5905-AD91-BD7B-0867C5A73C56}" dt="2023-01-16T18:13:32.715" v="275"/>
        <pc:sldMkLst>
          <pc:docMk/>
          <pc:sldMk cId="103457744" sldId="675"/>
        </pc:sldMkLst>
      </pc:sldChg>
      <pc:sldChg chg="add ord">
        <pc:chgData name="Alana Rivera" userId="S::arg3669@ads.northwestern.edu::fc8b707a-b7e9-4f2a-8d71-2d76819b7881" providerId="AD" clId="Web-{11B7517F-5905-AD91-BD7B-0867C5A73C56}" dt="2023-01-16T18:48:21.828" v="347"/>
        <pc:sldMkLst>
          <pc:docMk/>
          <pc:sldMk cId="985400610" sldId="675"/>
        </pc:sldMkLst>
      </pc:sldChg>
      <pc:sldChg chg="add ord">
        <pc:chgData name="Alana Rivera" userId="S::arg3669@ads.northwestern.edu::fc8b707a-b7e9-4f2a-8d71-2d76819b7881" providerId="AD" clId="Web-{11B7517F-5905-AD91-BD7B-0867C5A73C56}" dt="2023-01-16T18:48:24.844" v="348"/>
        <pc:sldMkLst>
          <pc:docMk/>
          <pc:sldMk cId="1856621264" sldId="676"/>
        </pc:sldMkLst>
      </pc:sldChg>
      <pc:sldChg chg="add del modNotes">
        <pc:chgData name="Alana Rivera" userId="S::arg3669@ads.northwestern.edu::fc8b707a-b7e9-4f2a-8d71-2d76819b7881" providerId="AD" clId="Web-{11B7517F-5905-AD91-BD7B-0867C5A73C56}" dt="2023-01-16T18:45:54.887" v="337"/>
        <pc:sldMkLst>
          <pc:docMk/>
          <pc:sldMk cId="3124343576" sldId="676"/>
        </pc:sldMkLst>
      </pc:sldChg>
      <pc:sldChg chg="add del">
        <pc:chgData name="Alana Rivera" userId="S::arg3669@ads.northwestern.edu::fc8b707a-b7e9-4f2a-8d71-2d76819b7881" providerId="AD" clId="Web-{11B7517F-5905-AD91-BD7B-0867C5A73C56}" dt="2023-01-16T18:45:54.668" v="336"/>
        <pc:sldMkLst>
          <pc:docMk/>
          <pc:sldMk cId="110528338" sldId="677"/>
        </pc:sldMkLst>
      </pc:sldChg>
      <pc:sldChg chg="add">
        <pc:chgData name="Alana Rivera" userId="S::arg3669@ads.northwestern.edu::fc8b707a-b7e9-4f2a-8d71-2d76819b7881" providerId="AD" clId="Web-{11B7517F-5905-AD91-BD7B-0867C5A73C56}" dt="2023-01-16T18:46:00.824" v="340"/>
        <pc:sldMkLst>
          <pc:docMk/>
          <pc:sldMk cId="738184023" sldId="677"/>
        </pc:sldMkLst>
      </pc:sldChg>
      <pc:sldChg chg="add">
        <pc:chgData name="Alana Rivera" userId="S::arg3669@ads.northwestern.edu::fc8b707a-b7e9-4f2a-8d71-2d76819b7881" providerId="AD" clId="Web-{11B7517F-5905-AD91-BD7B-0867C5A73C56}" dt="2023-01-16T18:46:37.028" v="342"/>
        <pc:sldMkLst>
          <pc:docMk/>
          <pc:sldMk cId="1057043416" sldId="678"/>
        </pc:sldMkLst>
      </pc:sldChg>
      <pc:sldChg chg="add del">
        <pc:chgData name="Alana Rivera" userId="S::arg3669@ads.northwestern.edu::fc8b707a-b7e9-4f2a-8d71-2d76819b7881" providerId="AD" clId="Web-{11B7517F-5905-AD91-BD7B-0867C5A73C56}" dt="2023-01-16T18:45:50.090" v="334"/>
        <pc:sldMkLst>
          <pc:docMk/>
          <pc:sldMk cId="3487769730" sldId="678"/>
        </pc:sldMkLst>
      </pc:sldChg>
      <pc:sldChg chg="add del">
        <pc:chgData name="Alana Rivera" userId="S::arg3669@ads.northwestern.edu::fc8b707a-b7e9-4f2a-8d71-2d76819b7881" providerId="AD" clId="Web-{11B7517F-5905-AD91-BD7B-0867C5A73C56}" dt="2023-01-16T18:49:05.735" v="350"/>
        <pc:sldMkLst>
          <pc:docMk/>
          <pc:sldMk cId="1954960071" sldId="679"/>
        </pc:sldMkLst>
      </pc:sldChg>
      <pc:sldChg chg="add del">
        <pc:chgData name="Alana Rivera" userId="S::arg3669@ads.northwestern.edu::fc8b707a-b7e9-4f2a-8d71-2d76819b7881" providerId="AD" clId="Web-{11B7517F-5905-AD91-BD7B-0867C5A73C56}" dt="2023-01-16T18:47:53.827" v="346"/>
        <pc:sldMkLst>
          <pc:docMk/>
          <pc:sldMk cId="255807843" sldId="680"/>
        </pc:sldMkLst>
      </pc:sldChg>
    </pc:docChg>
  </pc:docChgLst>
  <pc:docChgLst>
    <pc:chgData name="Eileen Fleming Suse" userId="S::efs3844@ads.northwestern.edu::725c94ef-d051-42d7-9d33-8572765d592b" providerId="AD" clId="Web-{6A24602B-C0BC-84D1-9CFC-43080D9C58E7}"/>
    <pc:docChg chg="modSld">
      <pc:chgData name="Eileen Fleming Suse" userId="S::efs3844@ads.northwestern.edu::725c94ef-d051-42d7-9d33-8572765d592b" providerId="AD" clId="Web-{6A24602B-C0BC-84D1-9CFC-43080D9C58E7}" dt="2023-03-17T20:52:59.500" v="45"/>
      <pc:docMkLst>
        <pc:docMk/>
      </pc:docMkLst>
      <pc:sldChg chg="modSp">
        <pc:chgData name="Eileen Fleming Suse" userId="S::efs3844@ads.northwestern.edu::725c94ef-d051-42d7-9d33-8572765d592b" providerId="AD" clId="Web-{6A24602B-C0BC-84D1-9CFC-43080D9C58E7}" dt="2023-03-17T20:52:59.500" v="45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6A24602B-C0BC-84D1-9CFC-43080D9C58E7}" dt="2023-03-17T20:06:44.316" v="16" actId="20577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6A24602B-C0BC-84D1-9CFC-43080D9C58E7}" dt="2023-03-17T20:52:59.500" v="45"/>
          <ac:graphicFrameMkLst>
            <pc:docMk/>
            <pc:sldMk cId="1618859033" sldId="693"/>
            <ac:graphicFrameMk id="6" creationId="{ABE664EC-DB8D-1736-BD6F-502306CFE78D}"/>
          </ac:graphicFrameMkLst>
        </pc:graphicFrameChg>
      </pc:sldChg>
      <pc:sldChg chg="addSp delSp modSp">
        <pc:chgData name="Eileen Fleming Suse" userId="S::efs3844@ads.northwestern.edu::725c94ef-d051-42d7-9d33-8572765d592b" providerId="AD" clId="Web-{6A24602B-C0BC-84D1-9CFC-43080D9C58E7}" dt="2023-03-17T20:38:24.681" v="37" actId="1076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6A24602B-C0BC-84D1-9CFC-43080D9C58E7}" dt="2023-03-17T20:37:44.680" v="28" actId="20577"/>
          <ac:spMkLst>
            <pc:docMk/>
            <pc:sldMk cId="2905881923" sldId="716"/>
            <ac:spMk id="12" creationId="{264C5A32-C49E-EB9B-26E3-DEB2108A83B8}"/>
          </ac:spMkLst>
        </pc:spChg>
        <pc:picChg chg="del">
          <ac:chgData name="Eileen Fleming Suse" userId="S::efs3844@ads.northwestern.edu::725c94ef-d051-42d7-9d33-8572765d592b" providerId="AD" clId="Web-{6A24602B-C0BC-84D1-9CFC-43080D9C58E7}" dt="2023-03-17T20:06:53.910" v="25"/>
          <ac:picMkLst>
            <pc:docMk/>
            <pc:sldMk cId="2905881923" sldId="716"/>
            <ac:picMk id="3" creationId="{129C7F6C-95EE-B08B-2CF0-0603DC73B088}"/>
          </ac:picMkLst>
        </pc:picChg>
        <pc:picChg chg="add del mod">
          <ac:chgData name="Eileen Fleming Suse" userId="S::efs3844@ads.northwestern.edu::725c94ef-d051-42d7-9d33-8572765d592b" providerId="AD" clId="Web-{6A24602B-C0BC-84D1-9CFC-43080D9C58E7}" dt="2023-03-17T20:38:13.837" v="35"/>
          <ac:picMkLst>
            <pc:docMk/>
            <pc:sldMk cId="2905881923" sldId="716"/>
            <ac:picMk id="3" creationId="{7E9B4C3D-2658-F7B6-7449-7F1222FCD9EF}"/>
          </ac:picMkLst>
        </pc:picChg>
        <pc:picChg chg="add mod ord">
          <ac:chgData name="Eileen Fleming Suse" userId="S::efs3844@ads.northwestern.edu::725c94ef-d051-42d7-9d33-8572765d592b" providerId="AD" clId="Web-{6A24602B-C0BC-84D1-9CFC-43080D9C58E7}" dt="2023-03-17T20:38:18.056" v="36" actId="1076"/>
          <ac:picMkLst>
            <pc:docMk/>
            <pc:sldMk cId="2905881923" sldId="716"/>
            <ac:picMk id="6" creationId="{238C44CE-F777-96C4-3E28-4C4F7B3A6B8E}"/>
          </ac:picMkLst>
        </pc:picChg>
        <pc:cxnChg chg="mod">
          <ac:chgData name="Eileen Fleming Suse" userId="S::efs3844@ads.northwestern.edu::725c94ef-d051-42d7-9d33-8572765d592b" providerId="AD" clId="Web-{6A24602B-C0BC-84D1-9CFC-43080D9C58E7}" dt="2023-03-17T20:38:24.681" v="37" actId="1076"/>
          <ac:cxnSpMkLst>
            <pc:docMk/>
            <pc:sldMk cId="2905881923" sldId="716"/>
            <ac:cxnSpMk id="7" creationId="{755E37EB-3D36-9482-9CA4-EBFB39C6A532}"/>
          </ac:cxnSpMkLst>
        </pc:cxnChg>
      </pc:sldChg>
    </pc:docChg>
  </pc:docChgLst>
  <pc:docChgLst>
    <pc:chgData name="Daniel L Weiss" userId="S::dlw2885@ads.northwestern.edu::9eb720c2-52d8-4896-8792-48826e9f92f5" providerId="AD" clId="Web-{608FA7B9-62D0-F7EC-908F-EF9215A451C0}"/>
    <pc:docChg chg="modSld">
      <pc:chgData name="Daniel L Weiss" userId="S::dlw2885@ads.northwestern.edu::9eb720c2-52d8-4896-8792-48826e9f92f5" providerId="AD" clId="Web-{608FA7B9-62D0-F7EC-908F-EF9215A451C0}" dt="2023-02-13T18:17:00.699" v="22" actId="14100"/>
      <pc:docMkLst>
        <pc:docMk/>
      </pc:docMkLst>
      <pc:sldChg chg="addSp delSp modSp delCm">
        <pc:chgData name="Daniel L Weiss" userId="S::dlw2885@ads.northwestern.edu::9eb720c2-52d8-4896-8792-48826e9f92f5" providerId="AD" clId="Web-{608FA7B9-62D0-F7EC-908F-EF9215A451C0}" dt="2023-02-13T18:17:00.699" v="22" actId="14100"/>
        <pc:sldMkLst>
          <pc:docMk/>
          <pc:sldMk cId="1127716331" sldId="712"/>
        </pc:sldMkLst>
        <pc:spChg chg="mod">
          <ac:chgData name="Daniel L Weiss" userId="S::dlw2885@ads.northwestern.edu::9eb720c2-52d8-4896-8792-48826e9f92f5" providerId="AD" clId="Web-{608FA7B9-62D0-F7EC-908F-EF9215A451C0}" dt="2023-02-13T18:16:57.199" v="20" actId="1076"/>
          <ac:spMkLst>
            <pc:docMk/>
            <pc:sldMk cId="1127716331" sldId="712"/>
            <ac:spMk id="2" creationId="{00000000-0000-0000-0000-000000000000}"/>
          </ac:spMkLst>
        </pc:spChg>
        <pc:spChg chg="add del mod">
          <ac:chgData name="Daniel L Weiss" userId="S::dlw2885@ads.northwestern.edu::9eb720c2-52d8-4896-8792-48826e9f92f5" providerId="AD" clId="Web-{608FA7B9-62D0-F7EC-908F-EF9215A451C0}" dt="2023-02-13T18:16:39.510" v="15"/>
          <ac:spMkLst>
            <pc:docMk/>
            <pc:sldMk cId="1127716331" sldId="712"/>
            <ac:spMk id="6" creationId="{7B180AB1-8EC9-44DB-B023-D1661C4303D0}"/>
          </ac:spMkLst>
        </pc:spChg>
        <pc:picChg chg="del">
          <ac:chgData name="Daniel L Weiss" userId="S::dlw2885@ads.northwestern.edu::9eb720c2-52d8-4896-8792-48826e9f92f5" providerId="AD" clId="Web-{608FA7B9-62D0-F7EC-908F-EF9215A451C0}" dt="2023-02-13T18:16:34.385" v="14"/>
          <ac:picMkLst>
            <pc:docMk/>
            <pc:sldMk cId="1127716331" sldId="712"/>
            <ac:picMk id="7" creationId="{C88C45C0-2AD3-0C80-0192-F63D87103130}"/>
          </ac:picMkLst>
        </pc:picChg>
        <pc:picChg chg="add mod ord">
          <ac:chgData name="Daniel L Weiss" userId="S::dlw2885@ads.northwestern.edu::9eb720c2-52d8-4896-8792-48826e9f92f5" providerId="AD" clId="Web-{608FA7B9-62D0-F7EC-908F-EF9215A451C0}" dt="2023-02-13T18:17:00.699" v="22" actId="14100"/>
          <ac:picMkLst>
            <pc:docMk/>
            <pc:sldMk cId="1127716331" sldId="712"/>
            <ac:picMk id="8" creationId="{523EAC3E-6062-B7BF-72F7-655002DE096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608FA7B9-62D0-F7EC-908F-EF9215A451C0}" dt="2023-02-13T18:12:05.970" v="13"/>
              <pc2:cmMkLst xmlns:pc2="http://schemas.microsoft.com/office/powerpoint/2019/9/main/command">
                <pc:docMk/>
                <pc:sldMk cId="1127716331" sldId="712"/>
                <pc2:cmMk id="{1D78414E-12F1-4F98-8C91-6DE73FF01049}"/>
              </pc2:cmMkLst>
            </pc226:cmChg>
          </p:ext>
        </pc:extLst>
      </pc:sldChg>
      <pc:sldChg chg="modSp">
        <pc:chgData name="Daniel L Weiss" userId="S::dlw2885@ads.northwestern.edu::9eb720c2-52d8-4896-8792-48826e9f92f5" providerId="AD" clId="Web-{608FA7B9-62D0-F7EC-908F-EF9215A451C0}" dt="2023-02-13T18:11:59.705" v="12"/>
        <pc:sldMkLst>
          <pc:docMk/>
          <pc:sldMk cId="1886867389" sldId="713"/>
        </pc:sldMkLst>
        <pc:spChg chg="mod">
          <ac:chgData name="Daniel L Weiss" userId="S::dlw2885@ads.northwestern.edu::9eb720c2-52d8-4896-8792-48826e9f92f5" providerId="AD" clId="Web-{608FA7B9-62D0-F7EC-908F-EF9215A451C0}" dt="2023-02-13T18:11:59.705" v="12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608FA7B9-62D0-F7EC-908F-EF9215A451C0}" dt="2023-02-13T18:10:21.842" v="9" actId="20577"/>
          <ac:spMkLst>
            <pc:docMk/>
            <pc:sldMk cId="1886867389" sldId="713"/>
            <ac:spMk id="3" creationId="{1419A524-96F5-A0B2-CACE-F9567471AB2E}"/>
          </ac:spMkLst>
        </pc:spChg>
      </pc:sldChg>
    </pc:docChg>
  </pc:docChgLst>
  <pc:docChgLst>
    <pc:chgData name="Aleena Lida Surenian" userId="S::als0813@ads.northwestern.edu::e2fd0e4e-6417-49b0-ab16-0ba26a1719f0" providerId="AD" clId="Web-{39090D0D-1E10-4C86-B9A8-51D2BFF3955D}"/>
    <pc:docChg chg="modSld">
      <pc:chgData name="Aleena Lida Surenian" userId="S::als0813@ads.northwestern.edu::e2fd0e4e-6417-49b0-ab16-0ba26a1719f0" providerId="AD" clId="Web-{39090D0D-1E10-4C86-B9A8-51D2BFF3955D}" dt="2023-03-01T20:31:51.402" v="3" actId="20577"/>
      <pc:docMkLst>
        <pc:docMk/>
      </pc:docMkLst>
      <pc:sldChg chg="modSp">
        <pc:chgData name="Aleena Lida Surenian" userId="S::als0813@ads.northwestern.edu::e2fd0e4e-6417-49b0-ab16-0ba26a1719f0" providerId="AD" clId="Web-{39090D0D-1E10-4C86-B9A8-51D2BFF3955D}" dt="2023-03-01T20:31:51.402" v="3" actId="20577"/>
        <pc:sldMkLst>
          <pc:docMk/>
          <pc:sldMk cId="1545632957" sldId="729"/>
        </pc:sldMkLst>
        <pc:spChg chg="mod">
          <ac:chgData name="Aleena Lida Surenian" userId="S::als0813@ads.northwestern.edu::e2fd0e4e-6417-49b0-ab16-0ba26a1719f0" providerId="AD" clId="Web-{39090D0D-1E10-4C86-B9A8-51D2BFF3955D}" dt="2023-03-01T20:31:51.402" v="3" actId="20577"/>
          <ac:spMkLst>
            <pc:docMk/>
            <pc:sldMk cId="1545632957" sldId="729"/>
            <ac:spMk id="3" creationId="{A7B6E2D0-1D97-60D1-5FEF-B69401319127}"/>
          </ac:spMkLst>
        </pc:spChg>
      </pc:sldChg>
    </pc:docChg>
  </pc:docChgLst>
  <pc:docChgLst>
    <pc:chgData name="Alana Rivera" userId="S::arg3669@ads.northwestern.edu::fc8b707a-b7e9-4f2a-8d71-2d76819b7881" providerId="AD" clId="Web-{0E28D145-070C-BC4C-7469-E5038B8EA368}"/>
    <pc:docChg chg="modSld">
      <pc:chgData name="Alana Rivera" userId="S::arg3669@ads.northwestern.edu::fc8b707a-b7e9-4f2a-8d71-2d76819b7881" providerId="AD" clId="Web-{0E28D145-070C-BC4C-7469-E5038B8EA368}" dt="2024-01-09T03:06:49.893" v="53"/>
      <pc:docMkLst>
        <pc:docMk/>
      </pc:docMkLst>
      <pc:sldChg chg="modSp">
        <pc:chgData name="Alana Rivera" userId="S::arg3669@ads.northwestern.edu::fc8b707a-b7e9-4f2a-8d71-2d76819b7881" providerId="AD" clId="Web-{0E28D145-070C-BC4C-7469-E5038B8EA368}" dt="2024-01-09T03:02:48.823" v="43" actId="20577"/>
        <pc:sldMkLst>
          <pc:docMk/>
          <pc:sldMk cId="89077294" sldId="629"/>
        </pc:sldMkLst>
        <pc:spChg chg="mod">
          <ac:chgData name="Alana Rivera" userId="S::arg3669@ads.northwestern.edu::fc8b707a-b7e9-4f2a-8d71-2d76819b7881" providerId="AD" clId="Web-{0E28D145-070C-BC4C-7469-E5038B8EA368}" dt="2024-01-09T03:02:20.869" v="39" actId="1076"/>
          <ac:spMkLst>
            <pc:docMk/>
            <pc:sldMk cId="89077294" sldId="629"/>
            <ac:spMk id="4" creationId="{BDA293DC-A8D5-42F8-0B28-957637EE16B9}"/>
          </ac:spMkLst>
        </pc:spChg>
        <pc:spChg chg="mod">
          <ac:chgData name="Alana Rivera" userId="S::arg3669@ads.northwestern.edu::fc8b707a-b7e9-4f2a-8d71-2d76819b7881" providerId="AD" clId="Web-{0E28D145-070C-BC4C-7469-E5038B8EA368}" dt="2024-01-09T03:02:38.401" v="41" actId="1076"/>
          <ac:spMkLst>
            <pc:docMk/>
            <pc:sldMk cId="89077294" sldId="629"/>
            <ac:spMk id="10" creationId="{00000000-0000-0000-0000-000000000000}"/>
          </ac:spMkLst>
        </pc:spChg>
        <pc:spChg chg="mod">
          <ac:chgData name="Alana Rivera" userId="S::arg3669@ads.northwestern.edu::fc8b707a-b7e9-4f2a-8d71-2d76819b7881" providerId="AD" clId="Web-{0E28D145-070C-BC4C-7469-E5038B8EA368}" dt="2024-01-09T03:01:56.696" v="34" actId="1076"/>
          <ac:spMkLst>
            <pc:docMk/>
            <pc:sldMk cId="89077294" sldId="629"/>
            <ac:spMk id="16" creationId="{00000000-0000-0000-0000-000000000000}"/>
          </ac:spMkLst>
        </pc:spChg>
        <pc:spChg chg="mod">
          <ac:chgData name="Alana Rivera" userId="S::arg3669@ads.northwestern.edu::fc8b707a-b7e9-4f2a-8d71-2d76819b7881" providerId="AD" clId="Web-{0E28D145-070C-BC4C-7469-E5038B8EA368}" dt="2024-01-09T03:02:32.822" v="40" actId="1076"/>
          <ac:spMkLst>
            <pc:docMk/>
            <pc:sldMk cId="89077294" sldId="629"/>
            <ac:spMk id="17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0E28D145-070C-BC4C-7469-E5038B8EA368}" dt="2024-01-09T03:02:48.823" v="43" actId="20577"/>
          <ac:spMkLst>
            <pc:docMk/>
            <pc:sldMk cId="89077294" sldId="629"/>
            <ac:spMk id="19" creationId="{00000000-0000-0000-0000-000000000000}"/>
          </ac:spMkLst>
        </pc:spChg>
        <pc:spChg chg="mod">
          <ac:chgData name="Alana Rivera" userId="S::arg3669@ads.northwestern.edu::fc8b707a-b7e9-4f2a-8d71-2d76819b7881" providerId="AD" clId="Web-{0E28D145-070C-BC4C-7469-E5038B8EA368}" dt="2024-01-09T03:01:50.071" v="32" actId="1076"/>
          <ac:spMkLst>
            <pc:docMk/>
            <pc:sldMk cId="89077294" sldId="629"/>
            <ac:spMk id="21" creationId="{00000000-0000-0000-0000-000000000000}"/>
          </ac:spMkLst>
        </pc:spChg>
        <pc:spChg chg="mod">
          <ac:chgData name="Alana Rivera" userId="S::arg3669@ads.northwestern.edu::fc8b707a-b7e9-4f2a-8d71-2d76819b7881" providerId="AD" clId="Web-{0E28D145-070C-BC4C-7469-E5038B8EA368}" dt="2024-01-09T03:01:53.040" v="33" actId="1076"/>
          <ac:spMkLst>
            <pc:docMk/>
            <pc:sldMk cId="89077294" sldId="629"/>
            <ac:spMk id="22" creationId="{00000000-0000-0000-0000-000000000000}"/>
          </ac:spMkLst>
        </pc:spChg>
        <pc:picChg chg="mod ord modCrop">
          <ac:chgData name="Alana Rivera" userId="S::arg3669@ads.northwestern.edu::fc8b707a-b7e9-4f2a-8d71-2d76819b7881" providerId="AD" clId="Web-{0E28D145-070C-BC4C-7469-E5038B8EA368}" dt="2024-01-09T03:02:08.243" v="37" actId="1076"/>
          <ac:picMkLst>
            <pc:docMk/>
            <pc:sldMk cId="89077294" sldId="629"/>
            <ac:picMk id="5" creationId="{1F9203D6-F8FA-0B9F-2E7D-021E90F8871A}"/>
          </ac:picMkLst>
        </pc:picChg>
      </pc:sldChg>
      <pc:sldChg chg="modSp">
        <pc:chgData name="Alana Rivera" userId="S::arg3669@ads.northwestern.edu::fc8b707a-b7e9-4f2a-8d71-2d76819b7881" providerId="AD" clId="Web-{0E28D145-070C-BC4C-7469-E5038B8EA368}" dt="2024-01-09T02:58:26.502" v="2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0E28D145-070C-BC4C-7469-E5038B8EA368}" dt="2024-01-09T02:58:26.502" v="2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addSp modSp">
        <pc:chgData name="Alana Rivera" userId="S::arg3669@ads.northwestern.edu::fc8b707a-b7e9-4f2a-8d71-2d76819b7881" providerId="AD" clId="Web-{0E28D145-070C-BC4C-7469-E5038B8EA368}" dt="2024-01-09T03:06:49.893" v="53"/>
        <pc:sldMkLst>
          <pc:docMk/>
          <pc:sldMk cId="1192176824" sldId="728"/>
        </pc:sldMkLst>
        <pc:spChg chg="mod">
          <ac:chgData name="Alana Rivera" userId="S::arg3669@ads.northwestern.edu::fc8b707a-b7e9-4f2a-8d71-2d76819b7881" providerId="AD" clId="Web-{0E28D145-070C-BC4C-7469-E5038B8EA368}" dt="2024-01-09T03:03:12.027" v="44" actId="1076"/>
          <ac:spMkLst>
            <pc:docMk/>
            <pc:sldMk cId="1192176824" sldId="728"/>
            <ac:spMk id="3" creationId="{00000000-0000-0000-0000-000000000000}"/>
          </ac:spMkLst>
        </pc:spChg>
        <pc:picChg chg="add mod">
          <ac:chgData name="Alana Rivera" userId="S::arg3669@ads.northwestern.edu::fc8b707a-b7e9-4f2a-8d71-2d76819b7881" providerId="AD" clId="Web-{0E28D145-070C-BC4C-7469-E5038B8EA368}" dt="2024-01-09T03:06:49.893" v="53"/>
          <ac:picMkLst>
            <pc:docMk/>
            <pc:sldMk cId="1192176824" sldId="728"/>
            <ac:picMk id="6" creationId="{5F5B414C-641F-D23A-485E-78838F898689}"/>
          </ac:picMkLst>
        </pc:picChg>
      </pc:sldChg>
    </pc:docChg>
  </pc:docChgLst>
  <pc:docChgLst>
    <pc:chgData name="Kiela Karina Moreno" userId="S::mpg7143@ads.northwestern.edu::1e897b35-0dd4-497a-9ab7-7a37e6c39d5b" providerId="AD" clId="Web-{ABAFBFCF-45E7-8CF4-B285-FDD7DD5A77C1}"/>
    <pc:docChg chg="modSld">
      <pc:chgData name="Kiela Karina Moreno" userId="S::mpg7143@ads.northwestern.edu::1e897b35-0dd4-497a-9ab7-7a37e6c39d5b" providerId="AD" clId="Web-{ABAFBFCF-45E7-8CF4-B285-FDD7DD5A77C1}" dt="2024-02-28T00:51:19.405" v="25" actId="1076"/>
      <pc:docMkLst>
        <pc:docMk/>
      </pc:docMkLst>
      <pc:sldChg chg="modSp">
        <pc:chgData name="Kiela Karina Moreno" userId="S::mpg7143@ads.northwestern.edu::1e897b35-0dd4-497a-9ab7-7a37e6c39d5b" providerId="AD" clId="Web-{ABAFBFCF-45E7-8CF4-B285-FDD7DD5A77C1}" dt="2024-02-28T00:47:52.055" v="22" actId="1076"/>
        <pc:sldMkLst>
          <pc:docMk/>
          <pc:sldMk cId="1982435436" sldId="784"/>
        </pc:sldMkLst>
        <pc:graphicFrameChg chg="mod modGraphic">
          <ac:chgData name="Kiela Karina Moreno" userId="S::mpg7143@ads.northwestern.edu::1e897b35-0dd4-497a-9ab7-7a37e6c39d5b" providerId="AD" clId="Web-{ABAFBFCF-45E7-8CF4-B285-FDD7DD5A77C1}" dt="2024-02-28T00:47:50.462" v="21" actId="1076"/>
          <ac:graphicFrameMkLst>
            <pc:docMk/>
            <pc:sldMk cId="1982435436" sldId="784"/>
            <ac:graphicFrameMk id="6" creationId="{BF79D693-9F7A-A3CB-D374-566F28C11E62}"/>
          </ac:graphicFrameMkLst>
        </pc:graphicFrameChg>
        <pc:graphicFrameChg chg="mod modGraphic">
          <ac:chgData name="Kiela Karina Moreno" userId="S::mpg7143@ads.northwestern.edu::1e897b35-0dd4-497a-9ab7-7a37e6c39d5b" providerId="AD" clId="Web-{ABAFBFCF-45E7-8CF4-B285-FDD7DD5A77C1}" dt="2024-02-28T00:47:52.055" v="22" actId="1076"/>
          <ac:graphicFrameMkLst>
            <pc:docMk/>
            <pc:sldMk cId="1982435436" sldId="784"/>
            <ac:graphicFrameMk id="10" creationId="{CD362683-C0A7-0C6F-FF3E-E5B0BFB06090}"/>
          </ac:graphicFrameMkLst>
        </pc:graphicFrameChg>
      </pc:sldChg>
      <pc:sldChg chg="modSp">
        <pc:chgData name="Kiela Karina Moreno" userId="S::mpg7143@ads.northwestern.edu::1e897b35-0dd4-497a-9ab7-7a37e6c39d5b" providerId="AD" clId="Web-{ABAFBFCF-45E7-8CF4-B285-FDD7DD5A77C1}" dt="2024-02-28T00:51:19.405" v="25" actId="1076"/>
        <pc:sldMkLst>
          <pc:docMk/>
          <pc:sldMk cId="1805206964" sldId="811"/>
        </pc:sldMkLst>
        <pc:spChg chg="mod">
          <ac:chgData name="Kiela Karina Moreno" userId="S::mpg7143@ads.northwestern.edu::1e897b35-0dd4-497a-9ab7-7a37e6c39d5b" providerId="AD" clId="Web-{ABAFBFCF-45E7-8CF4-B285-FDD7DD5A77C1}" dt="2024-02-28T00:51:12.608" v="24" actId="1076"/>
          <ac:spMkLst>
            <pc:docMk/>
            <pc:sldMk cId="1805206964" sldId="811"/>
            <ac:spMk id="2" creationId="{1E79CB01-8D8F-54BE-C7AE-A200EBD655FB}"/>
          </ac:spMkLst>
        </pc:spChg>
        <pc:graphicFrameChg chg="mod modGraphic">
          <ac:chgData name="Kiela Karina Moreno" userId="S::mpg7143@ads.northwestern.edu::1e897b35-0dd4-497a-9ab7-7a37e6c39d5b" providerId="AD" clId="Web-{ABAFBFCF-45E7-8CF4-B285-FDD7DD5A77C1}" dt="2024-02-28T00:51:19.405" v="25" actId="1076"/>
          <ac:graphicFrameMkLst>
            <pc:docMk/>
            <pc:sldMk cId="1805206964" sldId="811"/>
            <ac:graphicFrameMk id="6" creationId="{3C10FB90-C65D-4456-26E4-25AEC9F1CECF}"/>
          </ac:graphicFrameMkLst>
        </pc:graphicFrameChg>
      </pc:sldChg>
    </pc:docChg>
  </pc:docChgLst>
  <pc:docChgLst>
    <pc:chgData name="Eileen Fleming Suse" userId="S::efs3844@ads.northwestern.edu::725c94ef-d051-42d7-9d33-8572765d592b" providerId="AD" clId="Web-{DD596079-C9EC-4B59-80C4-A69C2B18D8BA}"/>
    <pc:docChg chg="addSld delSld modSld">
      <pc:chgData name="Eileen Fleming Suse" userId="S::efs3844@ads.northwestern.edu::725c94ef-d051-42d7-9d33-8572765d592b" providerId="AD" clId="Web-{DD596079-C9EC-4B59-80C4-A69C2B18D8BA}" dt="2024-01-16T23:50:59.039" v="27"/>
      <pc:docMkLst>
        <pc:docMk/>
      </pc:docMkLst>
      <pc:sldChg chg="del">
        <pc:chgData name="Eileen Fleming Suse" userId="S::efs3844@ads.northwestern.edu::725c94ef-d051-42d7-9d33-8572765d592b" providerId="AD" clId="Web-{DD596079-C9EC-4B59-80C4-A69C2B18D8BA}" dt="2024-01-16T23:50:45.836" v="22"/>
        <pc:sldMkLst>
          <pc:docMk/>
          <pc:sldMk cId="3850125703" sldId="786"/>
        </pc:sldMkLst>
      </pc:sldChg>
      <pc:sldChg chg="modSp modCm">
        <pc:chgData name="Eileen Fleming Suse" userId="S::efs3844@ads.northwestern.edu::725c94ef-d051-42d7-9d33-8572765d592b" providerId="AD" clId="Web-{DD596079-C9EC-4B59-80C4-A69C2B18D8BA}" dt="2024-01-16T23:49:58.053" v="16"/>
        <pc:sldMkLst>
          <pc:docMk/>
          <pc:sldMk cId="1112372070" sldId="824"/>
        </pc:sldMkLst>
        <pc:spChg chg="mod">
          <ac:chgData name="Eileen Fleming Suse" userId="S::efs3844@ads.northwestern.edu::725c94ef-d051-42d7-9d33-8572765d592b" providerId="AD" clId="Web-{DD596079-C9EC-4B59-80C4-A69C2B18D8BA}" dt="2024-01-16T23:49:48.131" v="15"/>
          <ac:spMkLst>
            <pc:docMk/>
            <pc:sldMk cId="1112372070" sldId="824"/>
            <ac:spMk id="2" creationId="{3FB4878F-0400-AE7C-3EEE-62994307E9E4}"/>
          </ac:spMkLst>
        </pc:spChg>
        <pc:graphicFrameChg chg="mod modGraphic">
          <ac:chgData name="Eileen Fleming Suse" userId="S::efs3844@ads.northwestern.edu::725c94ef-d051-42d7-9d33-8572765d592b" providerId="AD" clId="Web-{DD596079-C9EC-4B59-80C4-A69C2B18D8BA}" dt="2024-01-16T23:49:37.803" v="14"/>
          <ac:graphicFrameMkLst>
            <pc:docMk/>
            <pc:sldMk cId="1112372070" sldId="824"/>
            <ac:graphicFrameMk id="6" creationId="{CA77166E-2DEA-18B6-9D40-352B79C31291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DD596079-C9EC-4B59-80C4-A69C2B18D8BA}" dt="2024-01-16T23:49:58.053" v="16"/>
              <pc2:cmMkLst xmlns:pc2="http://schemas.microsoft.com/office/powerpoint/2019/9/main/command">
                <pc:docMk/>
                <pc:sldMk cId="1112372070" sldId="824"/>
                <pc2:cmMk id="{01F2BFB4-0AC3-41E8-9239-F8CEC7A4AA19}"/>
              </pc2:cmMkLst>
            </pc226:cmChg>
          </p:ext>
        </pc:extLst>
      </pc:sldChg>
      <pc:sldChg chg="add del">
        <pc:chgData name="Eileen Fleming Suse" userId="S::efs3844@ads.northwestern.edu::725c94ef-d051-42d7-9d33-8572765d592b" providerId="AD" clId="Web-{DD596079-C9EC-4B59-80C4-A69C2B18D8BA}" dt="2024-01-16T23:50:55.539" v="23"/>
        <pc:sldMkLst>
          <pc:docMk/>
          <pc:sldMk cId="785115983" sldId="825"/>
        </pc:sldMkLst>
      </pc:sldChg>
      <pc:sldChg chg="add del">
        <pc:chgData name="Eileen Fleming Suse" userId="S::efs3844@ads.northwestern.edu::725c94ef-d051-42d7-9d33-8572765d592b" providerId="AD" clId="Web-{DD596079-C9EC-4B59-80C4-A69C2B18D8BA}" dt="2024-01-16T23:50:56.289" v="24"/>
        <pc:sldMkLst>
          <pc:docMk/>
          <pc:sldMk cId="3030449316" sldId="826"/>
        </pc:sldMkLst>
      </pc:sldChg>
      <pc:sldChg chg="add del">
        <pc:chgData name="Eileen Fleming Suse" userId="S::efs3844@ads.northwestern.edu::725c94ef-d051-42d7-9d33-8572765d592b" providerId="AD" clId="Web-{DD596079-C9EC-4B59-80C4-A69C2B18D8BA}" dt="2024-01-16T23:50:57.117" v="25"/>
        <pc:sldMkLst>
          <pc:docMk/>
          <pc:sldMk cId="4283907660" sldId="827"/>
        </pc:sldMkLst>
      </pc:sldChg>
      <pc:sldChg chg="add del">
        <pc:chgData name="Eileen Fleming Suse" userId="S::efs3844@ads.northwestern.edu::725c94ef-d051-42d7-9d33-8572765d592b" providerId="AD" clId="Web-{DD596079-C9EC-4B59-80C4-A69C2B18D8BA}" dt="2024-01-16T23:50:58.133" v="26"/>
        <pc:sldMkLst>
          <pc:docMk/>
          <pc:sldMk cId="3429940818" sldId="828"/>
        </pc:sldMkLst>
      </pc:sldChg>
      <pc:sldChg chg="add del">
        <pc:chgData name="Eileen Fleming Suse" userId="S::efs3844@ads.northwestern.edu::725c94ef-d051-42d7-9d33-8572765d592b" providerId="AD" clId="Web-{DD596079-C9EC-4B59-80C4-A69C2B18D8BA}" dt="2024-01-16T23:50:59.039" v="27"/>
        <pc:sldMkLst>
          <pc:docMk/>
          <pc:sldMk cId="3419957415" sldId="829"/>
        </pc:sldMkLst>
      </pc:sldChg>
    </pc:docChg>
  </pc:docChgLst>
  <pc:docChgLst>
    <pc:chgData name="Alana Rivera" userId="S::arg3669@ads.northwestern.edu::fc8b707a-b7e9-4f2a-8d71-2d76819b7881" providerId="AD" clId="Web-{D19DEAE6-2B1C-F667-1EEA-A4A53C3BF4E0}"/>
    <pc:docChg chg="modSld">
      <pc:chgData name="Alana Rivera" userId="S::arg3669@ads.northwestern.edu::fc8b707a-b7e9-4f2a-8d71-2d76819b7881" providerId="AD" clId="Web-{D19DEAE6-2B1C-F667-1EEA-A4A53C3BF4E0}" dt="2023-04-14T11:35:06.664" v="62" actId="20577"/>
      <pc:docMkLst>
        <pc:docMk/>
      </pc:docMkLst>
      <pc:sldChg chg="modSp">
        <pc:chgData name="Alana Rivera" userId="S::arg3669@ads.northwestern.edu::fc8b707a-b7e9-4f2a-8d71-2d76819b7881" providerId="AD" clId="Web-{D19DEAE6-2B1C-F667-1EEA-A4A53C3BF4E0}" dt="2023-04-14T11:30:31.798" v="5" actId="1076"/>
        <pc:sldMkLst>
          <pc:docMk/>
          <pc:sldMk cId="1618859033" sldId="693"/>
        </pc:sldMkLst>
        <pc:spChg chg="mod">
          <ac:chgData name="Alana Rivera" userId="S::arg3669@ads.northwestern.edu::fc8b707a-b7e9-4f2a-8d71-2d76819b7881" providerId="AD" clId="Web-{D19DEAE6-2B1C-F667-1EEA-A4A53C3BF4E0}" dt="2023-04-14T11:30:28.767" v="4" actId="20577"/>
          <ac:spMkLst>
            <pc:docMk/>
            <pc:sldMk cId="1618859033" sldId="693"/>
            <ac:spMk id="2" creationId="{7719FD7A-7B92-EC42-6554-FA310B6714B1}"/>
          </ac:spMkLst>
        </pc:spChg>
        <pc:picChg chg="mod">
          <ac:chgData name="Alana Rivera" userId="S::arg3669@ads.northwestern.edu::fc8b707a-b7e9-4f2a-8d71-2d76819b7881" providerId="AD" clId="Web-{D19DEAE6-2B1C-F667-1EEA-A4A53C3BF4E0}" dt="2023-04-14T11:30:31.798" v="5" actId="1076"/>
          <ac:picMkLst>
            <pc:docMk/>
            <pc:sldMk cId="1618859033" sldId="693"/>
            <ac:picMk id="9" creationId="{F5FEF95E-8A79-35EE-7802-6AD0DC55B818}"/>
          </ac:picMkLst>
        </pc:picChg>
      </pc:sldChg>
      <pc:sldChg chg="modSp">
        <pc:chgData name="Alana Rivera" userId="S::arg3669@ads.northwestern.edu::fc8b707a-b7e9-4f2a-8d71-2d76819b7881" providerId="AD" clId="Web-{D19DEAE6-2B1C-F667-1EEA-A4A53C3BF4E0}" dt="2023-04-14T11:32:26.270" v="23" actId="20577"/>
        <pc:sldMkLst>
          <pc:docMk/>
          <pc:sldMk cId="3104795000" sldId="694"/>
        </pc:sldMkLst>
        <pc:spChg chg="mod">
          <ac:chgData name="Alana Rivera" userId="S::arg3669@ads.northwestern.edu::fc8b707a-b7e9-4f2a-8d71-2d76819b7881" providerId="AD" clId="Web-{D19DEAE6-2B1C-F667-1EEA-A4A53C3BF4E0}" dt="2023-04-14T11:32:26.270" v="23" actId="20577"/>
          <ac:spMkLst>
            <pc:docMk/>
            <pc:sldMk cId="3104795000" sldId="694"/>
            <ac:spMk id="3" creationId="{C072A9ED-20FF-40E5-9793-79452C94FE39}"/>
          </ac:spMkLst>
        </pc:spChg>
      </pc:sldChg>
      <pc:sldChg chg="modSp">
        <pc:chgData name="Alana Rivera" userId="S::arg3669@ads.northwestern.edu::fc8b707a-b7e9-4f2a-8d71-2d76819b7881" providerId="AD" clId="Web-{D19DEAE6-2B1C-F667-1EEA-A4A53C3BF4E0}" dt="2023-04-14T11:32:12.832" v="22" actId="20577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D19DEAE6-2B1C-F667-1EEA-A4A53C3BF4E0}" dt="2023-04-14T11:32:12.832" v="22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ana Rivera" userId="S::arg3669@ads.northwestern.edu::fc8b707a-b7e9-4f2a-8d71-2d76819b7881" providerId="AD" clId="Web-{D19DEAE6-2B1C-F667-1EEA-A4A53C3BF4E0}" dt="2023-04-14T11:31:57.269" v="17" actId="14100"/>
          <ac:spMkLst>
            <pc:docMk/>
            <pc:sldMk cId="3682438970" sldId="698"/>
            <ac:spMk id="7" creationId="{E0DDD91A-F49B-E7FA-F65F-DEF38C972D7B}"/>
          </ac:spMkLst>
        </pc:spChg>
      </pc:sldChg>
      <pc:sldChg chg="addSp modSp">
        <pc:chgData name="Alana Rivera" userId="S::arg3669@ads.northwestern.edu::fc8b707a-b7e9-4f2a-8d71-2d76819b7881" providerId="AD" clId="Web-{D19DEAE6-2B1C-F667-1EEA-A4A53C3BF4E0}" dt="2023-04-14T11:31:22.268" v="10" actId="1076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D19DEAE6-2B1C-F667-1EEA-A4A53C3BF4E0}" dt="2023-04-14T11:31:04.955" v="8" actId="20577"/>
          <ac:spMkLst>
            <pc:docMk/>
            <pc:sldMk cId="149255822" sldId="700"/>
            <ac:spMk id="3" creationId="{1419A524-96F5-A0B2-CACE-F9567471AB2E}"/>
          </ac:spMkLst>
        </pc:spChg>
        <pc:picChg chg="add mod">
          <ac:chgData name="Alana Rivera" userId="S::arg3669@ads.northwestern.edu::fc8b707a-b7e9-4f2a-8d71-2d76819b7881" providerId="AD" clId="Web-{D19DEAE6-2B1C-F667-1EEA-A4A53C3BF4E0}" dt="2023-04-14T11:31:22.268" v="10" actId="1076"/>
          <ac:picMkLst>
            <pc:docMk/>
            <pc:sldMk cId="149255822" sldId="700"/>
            <ac:picMk id="7" creationId="{C04AC905-D8CE-831F-C206-750BAE283CDA}"/>
          </ac:picMkLst>
        </pc:picChg>
      </pc:sldChg>
      <pc:sldChg chg="modSp">
        <pc:chgData name="Alana Rivera" userId="S::arg3669@ads.northwestern.edu::fc8b707a-b7e9-4f2a-8d71-2d76819b7881" providerId="AD" clId="Web-{D19DEAE6-2B1C-F667-1EEA-A4A53C3BF4E0}" dt="2023-04-14T11:35:06.664" v="62" actId="20577"/>
        <pc:sldMkLst>
          <pc:docMk/>
          <pc:sldMk cId="3542226056" sldId="709"/>
        </pc:sldMkLst>
        <pc:spChg chg="mod">
          <ac:chgData name="Alana Rivera" userId="S::arg3669@ads.northwestern.edu::fc8b707a-b7e9-4f2a-8d71-2d76819b7881" providerId="AD" clId="Web-{D19DEAE6-2B1C-F667-1EEA-A4A53C3BF4E0}" dt="2023-04-14T11:35:06.664" v="62" actId="20577"/>
          <ac:spMkLst>
            <pc:docMk/>
            <pc:sldMk cId="3542226056" sldId="709"/>
            <ac:spMk id="6" creationId="{B486F3F2-F4E9-83AE-B2E9-9FB104A5F282}"/>
          </ac:spMkLst>
        </pc:spChg>
      </pc:sldChg>
      <pc:sldChg chg="addSp modSp addCm">
        <pc:chgData name="Alana Rivera" userId="S::arg3669@ads.northwestern.edu::fc8b707a-b7e9-4f2a-8d71-2d76819b7881" providerId="AD" clId="Web-{D19DEAE6-2B1C-F667-1EEA-A4A53C3BF4E0}" dt="2023-04-14T11:34:53.305" v="58"/>
        <pc:sldMkLst>
          <pc:docMk/>
          <pc:sldMk cId="1127716331" sldId="712"/>
        </pc:sldMkLst>
        <pc:spChg chg="mod">
          <ac:chgData name="Alana Rivera" userId="S::arg3669@ads.northwestern.edu::fc8b707a-b7e9-4f2a-8d71-2d76819b7881" providerId="AD" clId="Web-{D19DEAE6-2B1C-F667-1EEA-A4A53C3BF4E0}" dt="2023-04-14T11:33:39.584" v="44" actId="20577"/>
          <ac:spMkLst>
            <pc:docMk/>
            <pc:sldMk cId="1127716331" sldId="712"/>
            <ac:spMk id="2" creationId="{00000000-0000-0000-0000-000000000000}"/>
          </ac:spMkLst>
        </pc:spChg>
        <pc:spChg chg="add mod">
          <ac:chgData name="Alana Rivera" userId="S::arg3669@ads.northwestern.edu::fc8b707a-b7e9-4f2a-8d71-2d76819b7881" providerId="AD" clId="Web-{D19DEAE6-2B1C-F667-1EEA-A4A53C3BF4E0}" dt="2023-04-14T11:34:19.835" v="57" actId="20577"/>
          <ac:spMkLst>
            <pc:docMk/>
            <pc:sldMk cId="1127716331" sldId="712"/>
            <ac:spMk id="3" creationId="{55FFE871-51C7-06A0-28CC-44160A0C52D1}"/>
          </ac:spMkLst>
        </pc:spChg>
        <pc:spChg chg="mod">
          <ac:chgData name="Alana Rivera" userId="S::arg3669@ads.northwestern.edu::fc8b707a-b7e9-4f2a-8d71-2d76819b7881" providerId="AD" clId="Web-{D19DEAE6-2B1C-F667-1EEA-A4A53C3BF4E0}" dt="2023-04-14T11:33:45.756" v="45" actId="20577"/>
          <ac:spMkLst>
            <pc:docMk/>
            <pc:sldMk cId="1127716331" sldId="712"/>
            <ac:spMk id="6" creationId="{E65CA684-40F5-A276-79C0-B0D60C8A7AC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D19DEAE6-2B1C-F667-1EEA-A4A53C3BF4E0}" dt="2023-04-14T11:34:53.305" v="58"/>
              <pc2:cmMkLst xmlns:pc2="http://schemas.microsoft.com/office/powerpoint/2019/9/main/command">
                <pc:docMk/>
                <pc:sldMk cId="1127716331" sldId="712"/>
                <pc2:cmMk id="{0BB2D623-6CEF-4191-BEED-8D22A37CEE17}"/>
              </pc2:cmMkLst>
            </pc226:cmChg>
          </p:ext>
        </pc:extLst>
      </pc:sldChg>
      <pc:sldChg chg="addCm">
        <pc:chgData name="Alana Rivera" userId="S::arg3669@ads.northwestern.edu::fc8b707a-b7e9-4f2a-8d71-2d76819b7881" providerId="AD" clId="Web-{D19DEAE6-2B1C-F667-1EEA-A4A53C3BF4E0}" dt="2023-04-14T11:30:14.938" v="0"/>
        <pc:sldMkLst>
          <pc:docMk/>
          <pc:sldMk cId="2905881923" sldId="71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D19DEAE6-2B1C-F667-1EEA-A4A53C3BF4E0}" dt="2023-04-14T11:30:14.938" v="0"/>
              <pc2:cmMkLst xmlns:pc2="http://schemas.microsoft.com/office/powerpoint/2019/9/main/command">
                <pc:docMk/>
                <pc:sldMk cId="2905881923" sldId="716"/>
                <pc2:cmMk id="{09A865C3-42D6-4795-8B6E-0A29980C4AD8}"/>
              </pc2:cmMkLst>
            </pc226:cmChg>
          </p:ext>
        </pc:extLst>
      </pc:sldChg>
      <pc:sldChg chg="addSp delSp modSp">
        <pc:chgData name="Alana Rivera" userId="S::arg3669@ads.northwestern.edu::fc8b707a-b7e9-4f2a-8d71-2d76819b7881" providerId="AD" clId="Web-{D19DEAE6-2B1C-F667-1EEA-A4A53C3BF4E0}" dt="2023-04-14T11:33:03.771" v="30" actId="20577"/>
        <pc:sldMkLst>
          <pc:docMk/>
          <pc:sldMk cId="4237431969" sldId="752"/>
        </pc:sldMkLst>
        <pc:spChg chg="mod">
          <ac:chgData name="Alana Rivera" userId="S::arg3669@ads.northwestern.edu::fc8b707a-b7e9-4f2a-8d71-2d76819b7881" providerId="AD" clId="Web-{D19DEAE6-2B1C-F667-1EEA-A4A53C3BF4E0}" dt="2023-04-14T11:33:03.771" v="30" actId="20577"/>
          <ac:spMkLst>
            <pc:docMk/>
            <pc:sldMk cId="4237431969" sldId="752"/>
            <ac:spMk id="2" creationId="{7719FD7A-7B92-EC42-6554-FA310B6714B1}"/>
          </ac:spMkLst>
        </pc:spChg>
        <pc:picChg chg="add del mod">
          <ac:chgData name="Alana Rivera" userId="S::arg3669@ads.northwestern.edu::fc8b707a-b7e9-4f2a-8d71-2d76819b7881" providerId="AD" clId="Web-{D19DEAE6-2B1C-F667-1EEA-A4A53C3BF4E0}" dt="2023-04-14T11:32:59.474" v="25"/>
          <ac:picMkLst>
            <pc:docMk/>
            <pc:sldMk cId="4237431969" sldId="752"/>
            <ac:picMk id="3" creationId="{EA24FD7C-0EFE-5869-0D58-D4F1DBFA5E1A}"/>
          </ac:picMkLst>
        </pc:picChg>
      </pc:sldChg>
    </pc:docChg>
  </pc:docChgLst>
  <pc:docChgLst>
    <pc:chgData name="Aleena Lida Surenian" userId="S::als0813@ads.northwestern.edu::e2fd0e4e-6417-49b0-ab16-0ba26a1719f0" providerId="AD" clId="Web-{1A580BA3-94CB-01D4-53A9-65E35B8B9296}"/>
    <pc:docChg chg="addSld delSld modSld sldOrd">
      <pc:chgData name="Aleena Lida Surenian" userId="S::als0813@ads.northwestern.edu::e2fd0e4e-6417-49b0-ab16-0ba26a1719f0" providerId="AD" clId="Web-{1A580BA3-94CB-01D4-53A9-65E35B8B9296}" dt="2024-01-11T16:14:12.744" v="211"/>
      <pc:docMkLst>
        <pc:docMk/>
      </pc:docMkLst>
      <pc:sldChg chg="modSp del">
        <pc:chgData name="Aleena Lida Surenian" userId="S::als0813@ads.northwestern.edu::e2fd0e4e-6417-49b0-ab16-0ba26a1719f0" providerId="AD" clId="Web-{1A580BA3-94CB-01D4-53A9-65E35B8B9296}" dt="2024-01-11T16:14:12.744" v="211"/>
        <pc:sldMkLst>
          <pc:docMk/>
          <pc:sldMk cId="2179344909" sldId="667"/>
        </pc:sldMkLst>
        <pc:graphicFrameChg chg="mod modGraphic">
          <ac:chgData name="Aleena Lida Surenian" userId="S::als0813@ads.northwestern.edu::e2fd0e4e-6417-49b0-ab16-0ba26a1719f0" providerId="AD" clId="Web-{1A580BA3-94CB-01D4-53A9-65E35B8B9296}" dt="2024-01-11T16:12:29.862" v="19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ord">
        <pc:chgData name="Aleena Lida Surenian" userId="S::als0813@ads.northwestern.edu::e2fd0e4e-6417-49b0-ab16-0ba26a1719f0" providerId="AD" clId="Web-{1A580BA3-94CB-01D4-53A9-65E35B8B9296}" dt="2024-01-11T16:11:20.966" v="3"/>
        <pc:sldMkLst>
          <pc:docMk/>
          <pc:sldMk cId="3682438970" sldId="698"/>
        </pc:sldMkLst>
      </pc:sldChg>
      <pc:sldChg chg="ord">
        <pc:chgData name="Aleena Lida Surenian" userId="S::als0813@ads.northwestern.edu::e2fd0e4e-6417-49b0-ab16-0ba26a1719f0" providerId="AD" clId="Web-{1A580BA3-94CB-01D4-53A9-65E35B8B9296}" dt="2024-01-11T16:11:08.466" v="1"/>
        <pc:sldMkLst>
          <pc:docMk/>
          <pc:sldMk cId="149255822" sldId="700"/>
        </pc:sldMkLst>
      </pc:sldChg>
      <pc:sldChg chg="modSp add">
        <pc:chgData name="Aleena Lida Surenian" userId="S::als0813@ads.northwestern.edu::e2fd0e4e-6417-49b0-ab16-0ba26a1719f0" providerId="AD" clId="Web-{1A580BA3-94CB-01D4-53A9-65E35B8B9296}" dt="2024-01-11T16:14:09.682" v="210"/>
        <pc:sldMkLst>
          <pc:docMk/>
          <pc:sldMk cId="135399322" sldId="822"/>
        </pc:sldMkLst>
        <pc:graphicFrameChg chg="mod modGraphic">
          <ac:chgData name="Aleena Lida Surenian" userId="S::als0813@ads.northwestern.edu::e2fd0e4e-6417-49b0-ab16-0ba26a1719f0" providerId="AD" clId="Web-{1A580BA3-94CB-01D4-53A9-65E35B8B9296}" dt="2024-01-11T16:14:09.682" v="210"/>
          <ac:graphicFrameMkLst>
            <pc:docMk/>
            <pc:sldMk cId="135399322" sldId="822"/>
            <ac:graphicFrameMk id="12717" creationId="{00000000-0000-0000-0000-000000000000}"/>
          </ac:graphicFrameMkLst>
        </pc:graphicFrameChg>
      </pc:sldChg>
      <pc:sldChg chg="add del">
        <pc:chgData name="Aleena Lida Surenian" userId="S::als0813@ads.northwestern.edu::e2fd0e4e-6417-49b0-ab16-0ba26a1719f0" providerId="AD" clId="Web-{1A580BA3-94CB-01D4-53A9-65E35B8B9296}" dt="2024-01-11T16:12:56.895" v="22"/>
        <pc:sldMkLst>
          <pc:docMk/>
          <pc:sldMk cId="1656719709" sldId="823"/>
        </pc:sldMkLst>
      </pc:sldChg>
    </pc:docChg>
  </pc:docChgLst>
  <pc:docChgLst>
    <pc:chgData name="Aleena Lida Surenian" userId="S::als0813@ads.northwestern.edu::e2fd0e4e-6417-49b0-ab16-0ba26a1719f0" providerId="AD" clId="Web-{B1286441-370F-1D7B-0E55-D39260DBD349}"/>
    <pc:docChg chg="addSld delSld addMainMaster modMainMaster">
      <pc:chgData name="Aleena Lida Surenian" userId="S::als0813@ads.northwestern.edu::e2fd0e4e-6417-49b0-ab16-0ba26a1719f0" providerId="AD" clId="Web-{B1286441-370F-1D7B-0E55-D39260DBD349}" dt="2024-02-15T14:22:27.311" v="3"/>
      <pc:docMkLst>
        <pc:docMk/>
      </pc:docMkLst>
      <pc:sldChg chg="add del">
        <pc:chgData name="Aleena Lida Surenian" userId="S::als0813@ads.northwestern.edu::e2fd0e4e-6417-49b0-ab16-0ba26a1719f0" providerId="AD" clId="Web-{B1286441-370F-1D7B-0E55-D39260DBD349}" dt="2024-02-15T14:22:27.311" v="3"/>
        <pc:sldMkLst>
          <pc:docMk/>
          <pc:sldMk cId="2997036987" sldId="831"/>
        </pc:sldMkLst>
      </pc:sldChg>
      <pc:sldMasterChg chg="modSldLayout">
        <pc:chgData name="Aleena Lida Surenian" userId="S::als0813@ads.northwestern.edu::e2fd0e4e-6417-49b0-ab16-0ba26a1719f0" providerId="AD" clId="Web-{B1286441-370F-1D7B-0E55-D39260DBD349}" dt="2024-02-15T14:21:58.747" v="2"/>
        <pc:sldMasterMkLst>
          <pc:docMk/>
          <pc:sldMasterMk cId="989504779" sldId="2147483734"/>
        </pc:sldMasterMkLst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4040902241" sldId="214748836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2979200564" sldId="214748836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980529727" sldId="214748836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377496322" sldId="214748836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980529727" sldId="214748836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758542806" sldId="214748836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72630080" sldId="214748837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195676063" sldId="214748837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980529727" sldId="214748837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91337409" sldId="214748837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09320368" sldId="214748837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610496501" sldId="214748837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410130633" sldId="214748837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698059872" sldId="214748837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610496501" sldId="214748837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410130633" sldId="214748837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698059872" sldId="214748838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546532180" sldId="214748838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980529727" sldId="214748838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993753234" sldId="214748838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430479694" sldId="214748838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036500789" sldId="214748838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191337409" sldId="214748838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989504779" sldId="2147483734"/>
            <pc:sldLayoutMk cId="3082224325" sldId="2147488387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B1286441-370F-1D7B-0E55-D39260DBD349}" dt="2024-02-15T14:21:58.747" v="2"/>
        <pc:sldMasterMkLst>
          <pc:docMk/>
          <pc:sldMasterMk cId="3521776840" sldId="2147483775"/>
        </pc:sldMasterMkLst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521776840" sldId="2147483775"/>
            <pc:sldLayoutMk cId="3638401069" sldId="214748836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521776840" sldId="2147483775"/>
            <pc:sldLayoutMk cId="3599785886" sldId="214748836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521776840" sldId="2147483775"/>
            <pc:sldLayoutMk cId="1392845063" sldId="2147488368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B1286441-370F-1D7B-0E55-D39260DBD349}" dt="2024-02-15T14:21:58.747" v="2"/>
        <pc:sldMasterMkLst>
          <pc:docMk/>
          <pc:sldMasterMk cId="3029083726" sldId="2147484574"/>
        </pc:sldMasterMkLst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80511572" sldId="214748822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92032075" sldId="214748822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608815627" sldId="214748822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833690118" sldId="214748823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198586300" sldId="214748823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61614351" sldId="214748823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34666737" sldId="214748823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175389313" sldId="214748823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45995057" sldId="214748823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89178654" sldId="214748823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0530505" sldId="214748823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944163847" sldId="214748823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898394506" sldId="214748823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43347566" sldId="214748824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174424933" sldId="214748824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360352572" sldId="214748825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302789458" sldId="214748825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20115823" sldId="214748825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061310319" sldId="214748825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598231390" sldId="214748825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047720485" sldId="214748825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374354904" sldId="214748825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338337174" sldId="214748826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76670045" sldId="214748826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223299833" sldId="214748826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40180821" sldId="214748826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089716835" sldId="214748826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444542024" sldId="214748826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896211667" sldId="214748826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38324535" sldId="214748826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835577980" sldId="214748826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87908400" sldId="214748826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877415214" sldId="214748827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23436724" sldId="214748827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57984771" sldId="214748827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180198999" sldId="214748827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00428782" sldId="214748827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142909449" sldId="214748827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044681620" sldId="214748827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571949904" sldId="214748827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334827487" sldId="214748827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286819339" sldId="214748827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209449856" sldId="214748828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269405373" sldId="214748828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74766657" sldId="214748828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599812491" sldId="214748828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663064590" sldId="214748828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812420861" sldId="214748828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629411256" sldId="214748828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968025013" sldId="214748828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591692375" sldId="214748828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136148130" sldId="214748828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49726724" sldId="214748829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748542397" sldId="214748829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670238652" sldId="214748829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692290756" sldId="214748829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854116487" sldId="214748829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946871630" sldId="214748829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970084428" sldId="214748829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989616685" sldId="214748829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919673245" sldId="214748829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693493174" sldId="214748829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866897139" sldId="214748830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9698437" sldId="214748830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03664240" sldId="214748830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408438635" sldId="214748830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986128481" sldId="214748830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303971442" sldId="214748830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263513863" sldId="214748830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787080957" sldId="214748830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56753818" sldId="214748830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85254510" sldId="214748830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815153868" sldId="214748831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86313547" sldId="214748831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486777020" sldId="214748831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61509372" sldId="214748831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66827796" sldId="214748831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611561225" sldId="214748831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35736094" sldId="214748831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682790659" sldId="214748831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950382973" sldId="214748831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61905157" sldId="214748831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578830928" sldId="214748832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070657066" sldId="214748832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876484904" sldId="214748832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164277896" sldId="214748832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65674651" sldId="214748832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968172203" sldId="214748832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00618233" sldId="214748832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883417624" sldId="214748832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727507954" sldId="214748832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45900492" sldId="214748832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798240338" sldId="214748833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280802527" sldId="214748833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554815820" sldId="214748833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42077277" sldId="214748833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107344795" sldId="214748833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192315998" sldId="214748833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526876617" sldId="214748833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448636113" sldId="214748833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356427986" sldId="214748833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105880625" sldId="214748833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725042268" sldId="214748834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855426536" sldId="214748834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721859085" sldId="214748834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03942270" sldId="214748834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042130207" sldId="214748834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963794051" sldId="214748834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102040150" sldId="214748834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935073987" sldId="214748834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321305042" sldId="214748834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550478061" sldId="214748838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2710635205" sldId="214748839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915753400" sldId="214748839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4021893059" sldId="214748839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224402013" sldId="214748839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836062418" sldId="214748839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393629825" sldId="214748839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764726885" sldId="214748840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3730899934" sldId="214748840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1074901268" sldId="214748840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3029083726" sldId="2147484574"/>
            <pc:sldLayoutMk cId="592162936" sldId="2147488404"/>
          </pc:sldLayoutMkLst>
        </pc:sldLayoutChg>
      </pc:sldMasterChg>
      <pc:sldMasterChg chg="add addSldLayout">
        <pc:chgData name="Aleena Lida Surenian" userId="S::als0813@ads.northwestern.edu::e2fd0e4e-6417-49b0-ab16-0ba26a1719f0" providerId="AD" clId="Web-{B1286441-370F-1D7B-0E55-D39260DBD349}" dt="2024-02-15T14:21:58.747" v="2"/>
        <pc:sldMasterMkLst>
          <pc:docMk/>
          <pc:sldMasterMk cId="0" sldId="2147485679"/>
        </pc:sldMasterMkLst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59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0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0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1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2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3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4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5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6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7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8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69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0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1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2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3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4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5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6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7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8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79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0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1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482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7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59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0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06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25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4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5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8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8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8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8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9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98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699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700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701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702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703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5704"/>
          </pc:sldLayoutMkLst>
        </pc:sldLayoutChg>
        <pc:sldLayoutChg chg="ad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0" sldId="2147485679"/>
            <pc:sldLayoutMk cId="0" sldId="2147488388"/>
          </pc:sldLayoutMkLst>
        </pc:sldLayoutChg>
      </pc:sldMasterChg>
      <pc:sldMasterChg chg="replId modSldLayout">
        <pc:chgData name="Aleena Lida Surenian" userId="S::als0813@ads.northwestern.edu::e2fd0e4e-6417-49b0-ab16-0ba26a1719f0" providerId="AD" clId="Web-{B1286441-370F-1D7B-0E55-D39260DBD349}" dt="2024-02-15T14:21:58.747" v="2"/>
        <pc:sldMasterMkLst>
          <pc:docMk/>
          <pc:sldMasterMk cId="485126324" sldId="2147488349"/>
        </pc:sldMasterMkLst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2221805457" sldId="2147488350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2988002226" sldId="2147488351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4099021445" sldId="2147488352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180947358" sldId="2147488353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2983860268" sldId="2147488354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1292894443" sldId="2147488355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1004643257" sldId="2147488356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1991216643" sldId="2147488357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2563854" sldId="2147488358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2814237754" sldId="2147488359"/>
          </pc:sldLayoutMkLst>
        </pc:sldLayoutChg>
        <pc:sldLayoutChg chg="replId">
          <pc:chgData name="Aleena Lida Surenian" userId="S::als0813@ads.northwestern.edu::e2fd0e4e-6417-49b0-ab16-0ba26a1719f0" providerId="AD" clId="Web-{B1286441-370F-1D7B-0E55-D39260DBD349}" dt="2024-02-15T14:21:58.747" v="2"/>
          <pc:sldLayoutMkLst>
            <pc:docMk/>
            <pc:sldMasterMk cId="485126324" sldId="2147488349"/>
            <pc:sldLayoutMk cId="3949472681" sldId="2147488360"/>
          </pc:sldLayoutMkLst>
        </pc:sldLayoutChg>
      </pc:sldMasterChg>
    </pc:docChg>
  </pc:docChgLst>
  <pc:docChgLst>
    <pc:chgData name="Daniel L Weiss" userId="S::dlw2885@ads.northwestern.edu::9eb720c2-52d8-4896-8792-48826e9f92f5" providerId="AD" clId="Web-{9101563A-C7E5-9D9E-5E49-38BBCC0E29AA}"/>
    <pc:docChg chg="modSld">
      <pc:chgData name="Daniel L Weiss" userId="S::dlw2885@ads.northwestern.edu::9eb720c2-52d8-4896-8792-48826e9f92f5" providerId="AD" clId="Web-{9101563A-C7E5-9D9E-5E49-38BBCC0E29AA}" dt="2023-03-20T14:53:59.768" v="14"/>
      <pc:docMkLst>
        <pc:docMk/>
      </pc:docMkLst>
      <pc:sldChg chg="addSp delSp modSp">
        <pc:chgData name="Daniel L Weiss" userId="S::dlw2885@ads.northwestern.edu::9eb720c2-52d8-4896-8792-48826e9f92f5" providerId="AD" clId="Web-{9101563A-C7E5-9D9E-5E49-38BBCC0E29AA}" dt="2023-03-20T14:53:59.768" v="14"/>
        <pc:sldMkLst>
          <pc:docMk/>
          <pc:sldMk cId="1127716331" sldId="712"/>
        </pc:sldMkLst>
        <pc:spChg chg="mod">
          <ac:chgData name="Daniel L Weiss" userId="S::dlw2885@ads.northwestern.edu::9eb720c2-52d8-4896-8792-48826e9f92f5" providerId="AD" clId="Web-{9101563A-C7E5-9D9E-5E49-38BBCC0E29AA}" dt="2023-03-20T14:53:59.768" v="14"/>
          <ac:spMkLst>
            <pc:docMk/>
            <pc:sldMk cId="1127716331" sldId="712"/>
            <ac:spMk id="2" creationId="{00000000-0000-0000-0000-000000000000}"/>
          </ac:spMkLst>
        </pc:spChg>
        <pc:spChg chg="add del mod">
          <ac:chgData name="Daniel L Weiss" userId="S::dlw2885@ads.northwestern.edu::9eb720c2-52d8-4896-8792-48826e9f92f5" providerId="AD" clId="Web-{9101563A-C7E5-9D9E-5E49-38BBCC0E29AA}" dt="2023-03-20T14:53:51.612" v="10"/>
          <ac:spMkLst>
            <pc:docMk/>
            <pc:sldMk cId="1127716331" sldId="712"/>
            <ac:spMk id="9" creationId="{3AF207C0-4185-541E-2AA2-E46F52241DB9}"/>
          </ac:spMkLst>
        </pc:spChg>
        <pc:picChg chg="del">
          <ac:chgData name="Daniel L Weiss" userId="S::dlw2885@ads.northwestern.edu::9eb720c2-52d8-4896-8792-48826e9f92f5" providerId="AD" clId="Web-{9101563A-C7E5-9D9E-5E49-38BBCC0E29AA}" dt="2023-03-20T14:53:50.253" v="9"/>
          <ac:picMkLst>
            <pc:docMk/>
            <pc:sldMk cId="1127716331" sldId="712"/>
            <ac:picMk id="7" creationId="{2EA30075-0FD0-2EE4-94AE-DDF8C9483AC7}"/>
          </ac:picMkLst>
        </pc:picChg>
        <pc:picChg chg="add mod ord">
          <ac:chgData name="Daniel L Weiss" userId="S::dlw2885@ads.northwestern.edu::9eb720c2-52d8-4896-8792-48826e9f92f5" providerId="AD" clId="Web-{9101563A-C7E5-9D9E-5E49-38BBCC0E29AA}" dt="2023-03-20T14:53:56.971" v="13" actId="1076"/>
          <ac:picMkLst>
            <pc:docMk/>
            <pc:sldMk cId="1127716331" sldId="712"/>
            <ac:picMk id="10" creationId="{ED1B7D58-03B6-8774-81EA-E66066A80375}"/>
          </ac:picMkLst>
        </pc:picChg>
      </pc:sldChg>
      <pc:sldChg chg="modSp">
        <pc:chgData name="Daniel L Weiss" userId="S::dlw2885@ads.northwestern.edu::9eb720c2-52d8-4896-8792-48826e9f92f5" providerId="AD" clId="Web-{9101563A-C7E5-9D9E-5E49-38BBCC0E29AA}" dt="2023-03-20T14:48:13.134" v="8"/>
        <pc:sldMkLst>
          <pc:docMk/>
          <pc:sldMk cId="1886867389" sldId="713"/>
        </pc:sldMkLst>
        <pc:spChg chg="mod">
          <ac:chgData name="Daniel L Weiss" userId="S::dlw2885@ads.northwestern.edu::9eb720c2-52d8-4896-8792-48826e9f92f5" providerId="AD" clId="Web-{9101563A-C7E5-9D9E-5E49-38BBCC0E29AA}" dt="2023-03-20T14:48:13.134" v="8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9101563A-C7E5-9D9E-5E49-38BBCC0E29AA}" dt="2023-03-20T14:48:08.837" v="7" actId="20577"/>
          <ac:spMkLst>
            <pc:docMk/>
            <pc:sldMk cId="1886867389" sldId="713"/>
            <ac:spMk id="3" creationId="{1419A524-96F5-A0B2-CACE-F9567471AB2E}"/>
          </ac:spMkLst>
        </pc:spChg>
      </pc:sldChg>
    </pc:docChg>
  </pc:docChgLst>
  <pc:docChgLst>
    <pc:chgData name="Kiela Karina Moreno" userId="S::mpg7143@ads.northwestern.edu::1e897b35-0dd4-497a-9ab7-7a37e6c39d5b" providerId="AD" clId="Web-{3008EADC-84DE-92C8-5D1B-D4E0A3B27EB6}"/>
    <pc:docChg chg="addSld">
      <pc:chgData name="Kiela Karina Moreno" userId="S::mpg7143@ads.northwestern.edu::1e897b35-0dd4-497a-9ab7-7a37e6c39d5b" providerId="AD" clId="Web-{3008EADC-84DE-92C8-5D1B-D4E0A3B27EB6}" dt="2024-02-29T15:50:43.803" v="1"/>
      <pc:docMkLst>
        <pc:docMk/>
      </pc:docMkLst>
      <pc:sldChg chg="modCm">
        <pc:chgData name="Kiela Karina Moreno" userId="S::mpg7143@ads.northwestern.edu::1e897b35-0dd4-497a-9ab7-7a37e6c39d5b" providerId="AD" clId="Web-{3008EADC-84DE-92C8-5D1B-D4E0A3B27EB6}" dt="2024-02-29T15:50:43.803" v="1"/>
        <pc:sldMkLst>
          <pc:docMk/>
          <pc:sldMk cId="2544469860" sldId="83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Kiela Karina Moreno" userId="S::mpg7143@ads.northwestern.edu::1e897b35-0dd4-497a-9ab7-7a37e6c39d5b" providerId="AD" clId="Web-{3008EADC-84DE-92C8-5D1B-D4E0A3B27EB6}" dt="2024-02-29T15:50:43.803" v="1"/>
              <pc2:cmMkLst xmlns:pc2="http://schemas.microsoft.com/office/powerpoint/2019/9/main/command">
                <pc:docMk/>
                <pc:sldMk cId="2544469860" sldId="838"/>
                <pc2:cmMk id="{59E838E4-51CC-4537-88E9-2E83CB870FFF}"/>
              </pc2:cmMkLst>
              <pc226:cmRplyChg chg="add">
                <pc226:chgData name="Kiela Karina Moreno" userId="S::mpg7143@ads.northwestern.edu::1e897b35-0dd4-497a-9ab7-7a37e6c39d5b" providerId="AD" clId="Web-{3008EADC-84DE-92C8-5D1B-D4E0A3B27EB6}" dt="2024-02-29T15:50:43.803" v="1"/>
                <pc2:cmRplyMkLst xmlns:pc2="http://schemas.microsoft.com/office/powerpoint/2019/9/main/command">
                  <pc:docMk/>
                  <pc:sldMk cId="2544469860" sldId="838"/>
                  <pc2:cmMk id="{59E838E4-51CC-4537-88E9-2E83CB870FFF}"/>
                  <pc2:cmRplyMk id="{73B3385D-2228-4B42-A0C6-80EE128C7D79}"/>
                </pc2:cmRplyMkLst>
              </pc226:cmRplyChg>
            </pc226:cmChg>
          </p:ext>
        </pc:extLst>
      </pc:sldChg>
      <pc:sldChg chg="add">
        <pc:chgData name="Kiela Karina Moreno" userId="S::mpg7143@ads.northwestern.edu::1e897b35-0dd4-497a-9ab7-7a37e6c39d5b" providerId="AD" clId="Web-{3008EADC-84DE-92C8-5D1B-D4E0A3B27EB6}" dt="2024-02-29T15:50:21.411" v="0"/>
        <pc:sldMkLst>
          <pc:docMk/>
          <pc:sldMk cId="2806931985" sldId="844"/>
        </pc:sldMkLst>
      </pc:sldChg>
    </pc:docChg>
  </pc:docChgLst>
  <pc:docChgLst>
    <pc:chgData name="Eileen Fleming Suse" userId="S::efs3844@ads.northwestern.edu::725c94ef-d051-42d7-9d33-8572765d592b" providerId="AD" clId="Web-{D0AF48E9-EE92-8089-3651-5950142F7845}"/>
    <pc:docChg chg="addSld delSld modSld sldOrd">
      <pc:chgData name="Eileen Fleming Suse" userId="S::efs3844@ads.northwestern.edu::725c94ef-d051-42d7-9d33-8572765d592b" providerId="AD" clId="Web-{D0AF48E9-EE92-8089-3651-5950142F7845}" dt="2024-01-16T23:48:19.757" v="390"/>
      <pc:docMkLst>
        <pc:docMk/>
      </pc:docMkLst>
      <pc:sldChg chg="del">
        <pc:chgData name="Eileen Fleming Suse" userId="S::efs3844@ads.northwestern.edu::725c94ef-d051-42d7-9d33-8572765d592b" providerId="AD" clId="Web-{D0AF48E9-EE92-8089-3651-5950142F7845}" dt="2024-01-16T23:40:12.040" v="232"/>
        <pc:sldMkLst>
          <pc:docMk/>
          <pc:sldMk cId="4179369718" sldId="769"/>
        </pc:sldMkLst>
      </pc:sldChg>
      <pc:sldChg chg="ord">
        <pc:chgData name="Eileen Fleming Suse" userId="S::efs3844@ads.northwestern.edu::725c94ef-d051-42d7-9d33-8572765d592b" providerId="AD" clId="Web-{D0AF48E9-EE92-8089-3651-5950142F7845}" dt="2024-01-16T23:40:42.931" v="234"/>
        <pc:sldMkLst>
          <pc:docMk/>
          <pc:sldMk cId="1424189288" sldId="774"/>
        </pc:sldMkLst>
      </pc:sldChg>
      <pc:sldChg chg="modSp ord modCm">
        <pc:chgData name="Eileen Fleming Suse" userId="S::efs3844@ads.northwestern.edu::725c94ef-d051-42d7-9d33-8572765d592b" providerId="AD" clId="Web-{D0AF48E9-EE92-8089-3651-5950142F7845}" dt="2024-01-16T23:43:08.404" v="247"/>
        <pc:sldMkLst>
          <pc:docMk/>
          <pc:sldMk cId="1982435436" sldId="784"/>
        </pc:sldMkLst>
        <pc:spChg chg="mod">
          <ac:chgData name="Eileen Fleming Suse" userId="S::efs3844@ads.northwestern.edu::725c94ef-d051-42d7-9d33-8572765d592b" providerId="AD" clId="Web-{D0AF48E9-EE92-8089-3651-5950142F7845}" dt="2024-01-16T23:36:55.190" v="197"/>
          <ac:spMkLst>
            <pc:docMk/>
            <pc:sldMk cId="1982435436" sldId="784"/>
            <ac:spMk id="2" creationId="{648FBB25-E6AC-43E0-018E-68B40B74197A}"/>
          </ac:spMkLst>
        </pc:spChg>
        <pc:graphicFrameChg chg="mod modGraphic">
          <ac:chgData name="Eileen Fleming Suse" userId="S::efs3844@ads.northwestern.edu::725c94ef-d051-42d7-9d33-8572765d592b" providerId="AD" clId="Web-{D0AF48E9-EE92-8089-3651-5950142F7845}" dt="2024-01-16T23:22:36.868" v="157"/>
          <ac:graphicFrameMkLst>
            <pc:docMk/>
            <pc:sldMk cId="1982435436" sldId="784"/>
            <ac:graphicFrameMk id="6" creationId="{BF79D693-9F7A-A3CB-D374-566F28C11E62}"/>
          </ac:graphicFrameMkLst>
        </pc:graphicFrameChg>
        <pc:graphicFrameChg chg="mod modGraphic">
          <ac:chgData name="Eileen Fleming Suse" userId="S::efs3844@ads.northwestern.edu::725c94ef-d051-42d7-9d33-8572765d592b" providerId="AD" clId="Web-{D0AF48E9-EE92-8089-3651-5950142F7845}" dt="2024-01-16T23:36:39.486" v="195"/>
          <ac:graphicFrameMkLst>
            <pc:docMk/>
            <pc:sldMk cId="1982435436" sldId="784"/>
            <ac:graphicFrameMk id="10" creationId="{CD362683-C0A7-0C6F-FF3E-E5B0BFB06090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D0AF48E9-EE92-8089-3651-5950142F7845}" dt="2024-01-16T23:36:46.940" v="196"/>
              <pc2:cmMkLst xmlns:pc2="http://schemas.microsoft.com/office/powerpoint/2019/9/main/command">
                <pc:docMk/>
                <pc:sldMk cId="1982435436" sldId="784"/>
                <pc2:cmMk id="{2AD81A66-B318-4779-B728-DF95F209397B}"/>
              </pc2:cmMkLst>
            </pc226:cmChg>
          </p:ext>
        </pc:extLst>
      </pc:sldChg>
      <pc:sldChg chg="delAnim">
        <pc:chgData name="Eileen Fleming Suse" userId="S::efs3844@ads.northwestern.edu::725c94ef-d051-42d7-9d33-8572765d592b" providerId="AD" clId="Web-{D0AF48E9-EE92-8089-3651-5950142F7845}" dt="2024-01-16T23:42:05.449" v="241"/>
        <pc:sldMkLst>
          <pc:docMk/>
          <pc:sldMk cId="3850125703" sldId="786"/>
        </pc:sldMkLst>
      </pc:sldChg>
      <pc:sldChg chg="del">
        <pc:chgData name="Eileen Fleming Suse" userId="S::efs3844@ads.northwestern.edu::725c94ef-d051-42d7-9d33-8572765d592b" providerId="AD" clId="Web-{D0AF48E9-EE92-8089-3651-5950142F7845}" dt="2024-01-16T23:37:01.550" v="198"/>
        <pc:sldMkLst>
          <pc:docMk/>
          <pc:sldMk cId="3726638559" sldId="792"/>
        </pc:sldMkLst>
      </pc:sldChg>
      <pc:sldChg chg="ord">
        <pc:chgData name="Eileen Fleming Suse" userId="S::efs3844@ads.northwestern.edu::725c94ef-d051-42d7-9d33-8572765d592b" providerId="AD" clId="Web-{D0AF48E9-EE92-8089-3651-5950142F7845}" dt="2024-01-16T23:41:29.261" v="235"/>
        <pc:sldMkLst>
          <pc:docMk/>
          <pc:sldMk cId="3550543422" sldId="794"/>
        </pc:sldMkLst>
      </pc:sldChg>
      <pc:sldChg chg="addSp delSp modSp">
        <pc:chgData name="Eileen Fleming Suse" userId="S::efs3844@ads.northwestern.edu::725c94ef-d051-42d7-9d33-8572765d592b" providerId="AD" clId="Web-{D0AF48E9-EE92-8089-3651-5950142F7845}" dt="2024-01-16T23:38:48.928" v="231" actId="20577"/>
        <pc:sldMkLst>
          <pc:docMk/>
          <pc:sldMk cId="790635443" sldId="795"/>
        </pc:sldMkLst>
        <pc:spChg chg="mod">
          <ac:chgData name="Eileen Fleming Suse" userId="S::efs3844@ads.northwestern.edu::725c94ef-d051-42d7-9d33-8572765d592b" providerId="AD" clId="Web-{D0AF48E9-EE92-8089-3651-5950142F7845}" dt="2024-01-16T23:38:48.928" v="231" actId="20577"/>
          <ac:spMkLst>
            <pc:docMk/>
            <pc:sldMk cId="790635443" sldId="795"/>
            <ac:spMk id="2" creationId="{00000000-0000-0000-0000-000000000000}"/>
          </ac:spMkLst>
        </pc:spChg>
        <pc:spChg chg="del mod">
          <ac:chgData name="Eileen Fleming Suse" userId="S::efs3844@ads.northwestern.edu::725c94ef-d051-42d7-9d33-8572765d592b" providerId="AD" clId="Web-{D0AF48E9-EE92-8089-3651-5950142F7845}" dt="2024-01-16T23:38:13.036" v="211"/>
          <ac:spMkLst>
            <pc:docMk/>
            <pc:sldMk cId="790635443" sldId="795"/>
            <ac:spMk id="3" creationId="{00000000-0000-0000-0000-000000000000}"/>
          </ac:spMkLst>
        </pc:spChg>
        <pc:spChg chg="add mod">
          <ac:chgData name="Eileen Fleming Suse" userId="S::efs3844@ads.northwestern.edu::725c94ef-d051-42d7-9d33-8572765d592b" providerId="AD" clId="Web-{D0AF48E9-EE92-8089-3651-5950142F7845}" dt="2024-01-16T23:38:13.036" v="211"/>
          <ac:spMkLst>
            <pc:docMk/>
            <pc:sldMk cId="790635443" sldId="795"/>
            <ac:spMk id="8" creationId="{8C931761-D29D-09E4-AAFE-96074B2CD8F9}"/>
          </ac:spMkLst>
        </pc:spChg>
      </pc:sldChg>
      <pc:sldChg chg="del">
        <pc:chgData name="Eileen Fleming Suse" userId="S::efs3844@ads.northwestern.edu::725c94ef-d051-42d7-9d33-8572765d592b" providerId="AD" clId="Web-{D0AF48E9-EE92-8089-3651-5950142F7845}" dt="2024-01-16T23:37:55.129" v="207"/>
        <pc:sldMkLst>
          <pc:docMk/>
          <pc:sldMk cId="4023770579" sldId="797"/>
        </pc:sldMkLst>
      </pc:sldChg>
      <pc:sldChg chg="modSp">
        <pc:chgData name="Eileen Fleming Suse" userId="S::efs3844@ads.northwestern.edu::725c94ef-d051-42d7-9d33-8572765d592b" providerId="AD" clId="Web-{D0AF48E9-EE92-8089-3651-5950142F7845}" dt="2024-01-16T23:37:46.113" v="206" actId="20577"/>
        <pc:sldMkLst>
          <pc:docMk/>
          <pc:sldMk cId="3572565421" sldId="798"/>
        </pc:sldMkLst>
        <pc:spChg chg="mod">
          <ac:chgData name="Eileen Fleming Suse" userId="S::efs3844@ads.northwestern.edu::725c94ef-d051-42d7-9d33-8572765d592b" providerId="AD" clId="Web-{D0AF48E9-EE92-8089-3651-5950142F7845}" dt="2024-01-16T23:37:46.113" v="206" actId="20577"/>
          <ac:spMkLst>
            <pc:docMk/>
            <pc:sldMk cId="3572565421" sldId="798"/>
            <ac:spMk id="10" creationId="{82689E54-BD73-FA60-6CE4-3B6868253FDB}"/>
          </ac:spMkLst>
        </pc:spChg>
      </pc:sldChg>
      <pc:sldChg chg="del">
        <pc:chgData name="Eileen Fleming Suse" userId="S::efs3844@ads.northwestern.edu::725c94ef-d051-42d7-9d33-8572765d592b" providerId="AD" clId="Web-{D0AF48E9-EE92-8089-3651-5950142F7845}" dt="2024-01-16T23:40:18.462" v="233"/>
        <pc:sldMkLst>
          <pc:docMk/>
          <pc:sldMk cId="4211238063" sldId="807"/>
        </pc:sldMkLst>
      </pc:sldChg>
      <pc:sldChg chg="addSp delSp modSp">
        <pc:chgData name="Eileen Fleming Suse" userId="S::efs3844@ads.northwestern.edu::725c94ef-d051-42d7-9d33-8572765d592b" providerId="AD" clId="Web-{D0AF48E9-EE92-8089-3651-5950142F7845}" dt="2024-01-16T23:48:19.757" v="390"/>
        <pc:sldMkLst>
          <pc:docMk/>
          <pc:sldMk cId="1112372070" sldId="824"/>
        </pc:sldMkLst>
        <pc:spChg chg="add del mod">
          <ac:chgData name="Eileen Fleming Suse" userId="S::efs3844@ads.northwestern.edu::725c94ef-d051-42d7-9d33-8572765d592b" providerId="AD" clId="Web-{D0AF48E9-EE92-8089-3651-5950142F7845}" dt="2024-01-16T23:46:40.645" v="328"/>
          <ac:spMkLst>
            <pc:docMk/>
            <pc:sldMk cId="1112372070" sldId="824"/>
            <ac:spMk id="9" creationId="{B7AB9A90-9FB2-F807-0509-2C0D5C6178E2}"/>
          </ac:spMkLst>
        </pc:spChg>
        <pc:graphicFrameChg chg="add del mod modGraphic">
          <ac:chgData name="Eileen Fleming Suse" userId="S::efs3844@ads.northwestern.edu::725c94ef-d051-42d7-9d33-8572765d592b" providerId="AD" clId="Web-{D0AF48E9-EE92-8089-3651-5950142F7845}" dt="2024-01-16T23:48:12.398" v="387"/>
          <ac:graphicFrameMkLst>
            <pc:docMk/>
            <pc:sldMk cId="1112372070" sldId="824"/>
            <ac:graphicFrameMk id="6" creationId="{CA77166E-2DEA-18B6-9D40-352B79C31291}"/>
          </ac:graphicFrameMkLst>
        </pc:graphicFrameChg>
        <pc:graphicFrameChg chg="add del mod modGraphic">
          <ac:chgData name="Eileen Fleming Suse" userId="S::efs3844@ads.northwestern.edu::725c94ef-d051-42d7-9d33-8572765d592b" providerId="AD" clId="Web-{D0AF48E9-EE92-8089-3651-5950142F7845}" dt="2024-01-16T23:46:40.457" v="326"/>
          <ac:graphicFrameMkLst>
            <pc:docMk/>
            <pc:sldMk cId="1112372070" sldId="824"/>
            <ac:graphicFrameMk id="7" creationId="{58531889-9BE9-2D6C-1E5B-3C20744600D5}"/>
          </ac:graphicFrameMkLst>
        </pc:graphicFrameChg>
        <pc:graphicFrameChg chg="add del mod modGraphic">
          <ac:chgData name="Eileen Fleming Suse" userId="S::efs3844@ads.northwestern.edu::725c94ef-d051-42d7-9d33-8572765d592b" providerId="AD" clId="Web-{D0AF48E9-EE92-8089-3651-5950142F7845}" dt="2024-01-16T23:48:19.757" v="390"/>
          <ac:graphicFrameMkLst>
            <pc:docMk/>
            <pc:sldMk cId="1112372070" sldId="824"/>
            <ac:graphicFrameMk id="11" creationId="{4AC290AF-D515-1D02-D5F9-7AF38EC807B6}"/>
          </ac:graphicFrameMkLst>
        </pc:graphicFrameChg>
      </pc:sldChg>
      <pc:sldChg chg="add ord">
        <pc:chgData name="Eileen Fleming Suse" userId="S::efs3844@ads.northwestern.edu::725c94ef-d051-42d7-9d33-8572765d592b" providerId="AD" clId="Web-{D0AF48E9-EE92-8089-3651-5950142F7845}" dt="2024-01-16T23:43:16.795" v="248"/>
        <pc:sldMkLst>
          <pc:docMk/>
          <pc:sldMk cId="785115983" sldId="825"/>
        </pc:sldMkLst>
      </pc:sldChg>
      <pc:sldChg chg="add ord">
        <pc:chgData name="Eileen Fleming Suse" userId="S::efs3844@ads.northwestern.edu::725c94ef-d051-42d7-9d33-8572765d592b" providerId="AD" clId="Web-{D0AF48E9-EE92-8089-3651-5950142F7845}" dt="2024-01-16T23:43:16.795" v="249"/>
        <pc:sldMkLst>
          <pc:docMk/>
          <pc:sldMk cId="3030449316" sldId="826"/>
        </pc:sldMkLst>
      </pc:sldChg>
      <pc:sldChg chg="add ord">
        <pc:chgData name="Eileen Fleming Suse" userId="S::efs3844@ads.northwestern.edu::725c94ef-d051-42d7-9d33-8572765d592b" providerId="AD" clId="Web-{D0AF48E9-EE92-8089-3651-5950142F7845}" dt="2024-01-16T23:43:16.795" v="250"/>
        <pc:sldMkLst>
          <pc:docMk/>
          <pc:sldMk cId="4283907660" sldId="827"/>
        </pc:sldMkLst>
      </pc:sldChg>
      <pc:sldChg chg="add ord">
        <pc:chgData name="Eileen Fleming Suse" userId="S::efs3844@ads.northwestern.edu::725c94ef-d051-42d7-9d33-8572765d592b" providerId="AD" clId="Web-{D0AF48E9-EE92-8089-3651-5950142F7845}" dt="2024-01-16T23:43:16.795" v="251"/>
        <pc:sldMkLst>
          <pc:docMk/>
          <pc:sldMk cId="3429940818" sldId="828"/>
        </pc:sldMkLst>
      </pc:sldChg>
      <pc:sldChg chg="add ord">
        <pc:chgData name="Eileen Fleming Suse" userId="S::efs3844@ads.northwestern.edu::725c94ef-d051-42d7-9d33-8572765d592b" providerId="AD" clId="Web-{D0AF48E9-EE92-8089-3651-5950142F7845}" dt="2024-01-16T23:43:16.795" v="252"/>
        <pc:sldMkLst>
          <pc:docMk/>
          <pc:sldMk cId="3419957415" sldId="829"/>
        </pc:sldMkLst>
      </pc:sldChg>
    </pc:docChg>
  </pc:docChgLst>
  <pc:docChgLst>
    <pc:chgData name="Alana Rivera" userId="S::arg3669@ads.northwestern.edu::fc8b707a-b7e9-4f2a-8d71-2d76819b7881" providerId="AD" clId="Web-{11E58CCE-FCA0-14FA-0FA7-6494FA3162E1}"/>
    <pc:docChg chg="addSld delSld modSld sldOrd">
      <pc:chgData name="Alana Rivera" userId="S::arg3669@ads.northwestern.edu::fc8b707a-b7e9-4f2a-8d71-2d76819b7881" providerId="AD" clId="Web-{11E58CCE-FCA0-14FA-0FA7-6494FA3162E1}" dt="2024-02-29T14:35:24.255" v="88"/>
      <pc:docMkLst>
        <pc:docMk/>
      </pc:docMkLst>
      <pc:sldChg chg="add del">
        <pc:chgData name="Alana Rivera" userId="S::arg3669@ads.northwestern.edu::fc8b707a-b7e9-4f2a-8d71-2d76819b7881" providerId="AD" clId="Web-{11E58CCE-FCA0-14FA-0FA7-6494FA3162E1}" dt="2024-02-29T14:33:16.939" v="73"/>
        <pc:sldMkLst>
          <pc:docMk/>
          <pc:sldMk cId="3589410507" sldId="600"/>
        </pc:sldMkLst>
      </pc:sldChg>
      <pc:sldChg chg="delCm">
        <pc:chgData name="Alana Rivera" userId="S::arg3669@ads.northwestern.edu::fc8b707a-b7e9-4f2a-8d71-2d76819b7881" providerId="AD" clId="Web-{11E58CCE-FCA0-14FA-0FA7-6494FA3162E1}" dt="2024-02-29T14:04:56.665" v="0"/>
        <pc:sldMkLst>
          <pc:docMk/>
          <pc:sldMk cId="3682438970" sldId="69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11E58CCE-FCA0-14FA-0FA7-6494FA3162E1}" dt="2024-02-29T14:04:56.665" v="0"/>
              <pc2:cmMkLst xmlns:pc2="http://schemas.microsoft.com/office/powerpoint/2019/9/main/command">
                <pc:docMk/>
                <pc:sldMk cId="3682438970" sldId="698"/>
                <pc2:cmMk id="{150F9455-1A12-4D16-AB1C-6DA912E26C6C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11E58CCE-FCA0-14FA-0FA7-6494FA3162E1}" dt="2024-02-29T14:35:22.067" v="86"/>
        <pc:sldMkLst>
          <pc:docMk/>
          <pc:sldMk cId="2958697780" sldId="754"/>
        </pc:sldMkLst>
      </pc:sldChg>
      <pc:sldChg chg="del">
        <pc:chgData name="Alana Rivera" userId="S::arg3669@ads.northwestern.edu::fc8b707a-b7e9-4f2a-8d71-2d76819b7881" providerId="AD" clId="Web-{11E58CCE-FCA0-14FA-0FA7-6494FA3162E1}" dt="2024-02-29T14:20:32.406" v="43"/>
        <pc:sldMkLst>
          <pc:docMk/>
          <pc:sldMk cId="1424189288" sldId="774"/>
        </pc:sldMkLst>
      </pc:sldChg>
      <pc:sldChg chg="addSp delSp modSp">
        <pc:chgData name="Alana Rivera" userId="S::arg3669@ads.northwestern.edu::fc8b707a-b7e9-4f2a-8d71-2d76819b7881" providerId="AD" clId="Web-{11E58CCE-FCA0-14FA-0FA7-6494FA3162E1}" dt="2024-02-29T14:20:32.359" v="42" actId="1076"/>
        <pc:sldMkLst>
          <pc:docMk/>
          <pc:sldMk cId="254191585" sldId="775"/>
        </pc:sldMkLst>
        <pc:spChg chg="add del">
          <ac:chgData name="Alana Rivera" userId="S::arg3669@ads.northwestern.edu::fc8b707a-b7e9-4f2a-8d71-2d76819b7881" providerId="AD" clId="Web-{11E58CCE-FCA0-14FA-0FA7-6494FA3162E1}" dt="2024-02-29T14:15:03.507" v="21"/>
          <ac:spMkLst>
            <pc:docMk/>
            <pc:sldMk cId="254191585" sldId="775"/>
            <ac:spMk id="5" creationId="{A5B9E4BF-5F23-605E-5713-96F71CA3ED70}"/>
          </ac:spMkLst>
        </pc:spChg>
        <pc:spChg chg="add del">
          <ac:chgData name="Alana Rivera" userId="S::arg3669@ads.northwestern.edu::fc8b707a-b7e9-4f2a-8d71-2d76819b7881" providerId="AD" clId="Web-{11E58CCE-FCA0-14FA-0FA7-6494FA3162E1}" dt="2024-02-29T14:15:57.259" v="23"/>
          <ac:spMkLst>
            <pc:docMk/>
            <pc:sldMk cId="254191585" sldId="775"/>
            <ac:spMk id="6" creationId="{97BE3344-E4DC-D729-F024-980F277DBE74}"/>
          </ac:spMkLst>
        </pc:spChg>
        <pc:spChg chg="add mod">
          <ac:chgData name="Alana Rivera" userId="S::arg3669@ads.northwestern.edu::fc8b707a-b7e9-4f2a-8d71-2d76819b7881" providerId="AD" clId="Web-{11E58CCE-FCA0-14FA-0FA7-6494FA3162E1}" dt="2024-02-29T14:20:32.359" v="42" actId="1076"/>
          <ac:spMkLst>
            <pc:docMk/>
            <pc:sldMk cId="254191585" sldId="775"/>
            <ac:spMk id="7" creationId="{2CA27773-1202-54D2-AF68-935146AF3365}"/>
          </ac:spMkLst>
        </pc:spChg>
        <pc:picChg chg="mod">
          <ac:chgData name="Alana Rivera" userId="S::arg3669@ads.northwestern.edu::fc8b707a-b7e9-4f2a-8d71-2d76819b7881" providerId="AD" clId="Web-{11E58CCE-FCA0-14FA-0FA7-6494FA3162E1}" dt="2024-02-29T14:20:32.281" v="41" actId="14100"/>
          <ac:picMkLst>
            <pc:docMk/>
            <pc:sldMk cId="254191585" sldId="775"/>
            <ac:picMk id="4" creationId="{88C41695-E6F3-DBC8-D295-A24473E9E355}"/>
          </ac:picMkLst>
        </pc:picChg>
      </pc:sldChg>
      <pc:sldChg chg="add del">
        <pc:chgData name="Alana Rivera" userId="S::arg3669@ads.northwestern.edu::fc8b707a-b7e9-4f2a-8d71-2d76819b7881" providerId="AD" clId="Web-{11E58CCE-FCA0-14FA-0FA7-6494FA3162E1}" dt="2024-02-29T14:33:22.314" v="80"/>
        <pc:sldMkLst>
          <pc:docMk/>
          <pc:sldMk cId="1982435436" sldId="784"/>
        </pc:sldMkLst>
      </pc:sldChg>
      <pc:sldChg chg="addSp modSp add del">
        <pc:chgData name="Alana Rivera" userId="S::arg3669@ads.northwestern.edu::fc8b707a-b7e9-4f2a-8d71-2d76819b7881" providerId="AD" clId="Web-{11E58CCE-FCA0-14FA-0FA7-6494FA3162E1}" dt="2024-02-29T14:33:19.549" v="77"/>
        <pc:sldMkLst>
          <pc:docMk/>
          <pc:sldMk cId="3573947264" sldId="785"/>
        </pc:sldMkLst>
        <pc:spChg chg="add mod">
          <ac:chgData name="Alana Rivera" userId="S::arg3669@ads.northwestern.edu::fc8b707a-b7e9-4f2a-8d71-2d76819b7881" providerId="AD" clId="Web-{11E58CCE-FCA0-14FA-0FA7-6494FA3162E1}" dt="2024-02-29T14:12:37.145" v="18"/>
          <ac:spMkLst>
            <pc:docMk/>
            <pc:sldMk cId="3573947264" sldId="785"/>
            <ac:spMk id="3" creationId="{C4A896AC-D4A6-C6C0-A8BE-7B8A9BFEC041}"/>
          </ac:spMkLst>
        </pc:spChg>
        <pc:picChg chg="add mod">
          <ac:chgData name="Alana Rivera" userId="S::arg3669@ads.northwestern.edu::fc8b707a-b7e9-4f2a-8d71-2d76819b7881" providerId="AD" clId="Web-{11E58CCE-FCA0-14FA-0FA7-6494FA3162E1}" dt="2024-02-29T14:12:44.957" v="19" actId="1076"/>
          <ac:picMkLst>
            <pc:docMk/>
            <pc:sldMk cId="3573947264" sldId="785"/>
            <ac:picMk id="5" creationId="{D10B6826-58E8-9280-05F7-7A0A632EB41D}"/>
          </ac:picMkLst>
        </pc:picChg>
      </pc:sldChg>
      <pc:sldChg chg="add del">
        <pc:chgData name="Alana Rivera" userId="S::arg3669@ads.northwestern.edu::fc8b707a-b7e9-4f2a-8d71-2d76819b7881" providerId="AD" clId="Web-{11E58CCE-FCA0-14FA-0FA7-6494FA3162E1}" dt="2024-02-29T14:33:17.330" v="76"/>
        <pc:sldMkLst>
          <pc:docMk/>
          <pc:sldMk cId="1514756035" sldId="791"/>
        </pc:sldMkLst>
      </pc:sldChg>
      <pc:sldChg chg="add del">
        <pc:chgData name="Alana Rivera" userId="S::arg3669@ads.northwestern.edu::fc8b707a-b7e9-4f2a-8d71-2d76819b7881" providerId="AD" clId="Web-{11E58CCE-FCA0-14FA-0FA7-6494FA3162E1}" dt="2024-02-29T14:33:17.205" v="75"/>
        <pc:sldMkLst>
          <pc:docMk/>
          <pc:sldMk cId="3550543422" sldId="794"/>
        </pc:sldMkLst>
      </pc:sldChg>
      <pc:sldChg chg="add del ord">
        <pc:chgData name="Alana Rivera" userId="S::arg3669@ads.northwestern.edu::fc8b707a-b7e9-4f2a-8d71-2d76819b7881" providerId="AD" clId="Web-{11E58CCE-FCA0-14FA-0FA7-6494FA3162E1}" dt="2024-02-29T14:33:16.970" v="74"/>
        <pc:sldMkLst>
          <pc:docMk/>
          <pc:sldMk cId="790635443" sldId="795"/>
        </pc:sldMkLst>
      </pc:sldChg>
      <pc:sldChg chg="del">
        <pc:chgData name="Alana Rivera" userId="S::arg3669@ads.northwestern.edu::fc8b707a-b7e9-4f2a-8d71-2d76819b7881" providerId="AD" clId="Web-{11E58CCE-FCA0-14FA-0FA7-6494FA3162E1}" dt="2024-02-29T14:07:51.700" v="5"/>
        <pc:sldMkLst>
          <pc:docMk/>
          <pc:sldMk cId="1758158855" sldId="796"/>
        </pc:sldMkLst>
      </pc:sldChg>
      <pc:sldChg chg="del">
        <pc:chgData name="Alana Rivera" userId="S::arg3669@ads.northwestern.edu::fc8b707a-b7e9-4f2a-8d71-2d76819b7881" providerId="AD" clId="Web-{11E58CCE-FCA0-14FA-0FA7-6494FA3162E1}" dt="2024-02-29T14:07:51.669" v="4"/>
        <pc:sldMkLst>
          <pc:docMk/>
          <pc:sldMk cId="3572565421" sldId="798"/>
        </pc:sldMkLst>
      </pc:sldChg>
      <pc:sldChg chg="del">
        <pc:chgData name="Alana Rivera" userId="S::arg3669@ads.northwestern.edu::fc8b707a-b7e9-4f2a-8d71-2d76819b7881" providerId="AD" clId="Web-{11E58CCE-FCA0-14FA-0FA7-6494FA3162E1}" dt="2024-02-29T14:25:45.897" v="45"/>
        <pc:sldMkLst>
          <pc:docMk/>
          <pc:sldMk cId="1545652074" sldId="801"/>
        </pc:sldMkLst>
      </pc:sldChg>
      <pc:sldChg chg="add del">
        <pc:chgData name="Alana Rivera" userId="S::arg3669@ads.northwestern.edu::fc8b707a-b7e9-4f2a-8d71-2d76819b7881" providerId="AD" clId="Web-{11E58CCE-FCA0-14FA-0FA7-6494FA3162E1}" dt="2024-02-29T14:33:22.283" v="79"/>
        <pc:sldMkLst>
          <pc:docMk/>
          <pc:sldMk cId="1805206964" sldId="811"/>
        </pc:sldMkLst>
      </pc:sldChg>
      <pc:sldChg chg="del">
        <pc:chgData name="Alana Rivera" userId="S::arg3669@ads.northwestern.edu::fc8b707a-b7e9-4f2a-8d71-2d76819b7881" providerId="AD" clId="Web-{11E58CCE-FCA0-14FA-0FA7-6494FA3162E1}" dt="2024-02-29T14:07:41.903" v="2"/>
        <pc:sldMkLst>
          <pc:docMk/>
          <pc:sldMk cId="927697769" sldId="815"/>
        </pc:sldMkLst>
      </pc:sldChg>
      <pc:sldChg chg="del">
        <pc:chgData name="Alana Rivera" userId="S::arg3669@ads.northwestern.edu::fc8b707a-b7e9-4f2a-8d71-2d76819b7881" providerId="AD" clId="Web-{11E58CCE-FCA0-14FA-0FA7-6494FA3162E1}" dt="2024-02-29T14:24:40.068" v="44"/>
        <pc:sldMkLst>
          <pc:docMk/>
          <pc:sldMk cId="482405619" sldId="816"/>
        </pc:sldMkLst>
      </pc:sldChg>
      <pc:sldChg chg="del">
        <pc:chgData name="Alana Rivera" userId="S::arg3669@ads.northwestern.edu::fc8b707a-b7e9-4f2a-8d71-2d76819b7881" providerId="AD" clId="Web-{11E58CCE-FCA0-14FA-0FA7-6494FA3162E1}" dt="2024-02-29T14:05:19.384" v="1"/>
        <pc:sldMkLst>
          <pc:docMk/>
          <pc:sldMk cId="1043753431" sldId="818"/>
        </pc:sldMkLst>
      </pc:sldChg>
      <pc:sldChg chg="del">
        <pc:chgData name="Alana Rivera" userId="S::arg3669@ads.northwestern.edu::fc8b707a-b7e9-4f2a-8d71-2d76819b7881" providerId="AD" clId="Web-{11E58CCE-FCA0-14FA-0FA7-6494FA3162E1}" dt="2024-02-29T14:07:51.544" v="3"/>
        <pc:sldMkLst>
          <pc:docMk/>
          <pc:sldMk cId="407364133" sldId="819"/>
        </pc:sldMkLst>
      </pc:sldChg>
      <pc:sldChg chg="modSp">
        <pc:chgData name="Alana Rivera" userId="S::arg3669@ads.northwestern.edu::fc8b707a-b7e9-4f2a-8d71-2d76819b7881" providerId="AD" clId="Web-{11E58CCE-FCA0-14FA-0FA7-6494FA3162E1}" dt="2024-02-29T14:33:24.486" v="85"/>
        <pc:sldMkLst>
          <pc:docMk/>
          <pc:sldMk cId="135399322" sldId="822"/>
        </pc:sldMkLst>
        <pc:graphicFrameChg chg="mod modGraphic">
          <ac:chgData name="Alana Rivera" userId="S::arg3669@ads.northwestern.edu::fc8b707a-b7e9-4f2a-8d71-2d76819b7881" providerId="AD" clId="Web-{11E58CCE-FCA0-14FA-0FA7-6494FA3162E1}" dt="2024-02-29T14:33:24.486" v="85"/>
          <ac:graphicFrameMkLst>
            <pc:docMk/>
            <pc:sldMk cId="135399322" sldId="822"/>
            <ac:graphicFrameMk id="12717" creationId="{00000000-0000-0000-0000-000000000000}"/>
          </ac:graphicFrameMkLst>
        </pc:graphicFrameChg>
      </pc:sldChg>
      <pc:sldChg chg="del">
        <pc:chgData name="Alana Rivera" userId="S::arg3669@ads.northwestern.edu::fc8b707a-b7e9-4f2a-8d71-2d76819b7881" providerId="AD" clId="Web-{11E58CCE-FCA0-14FA-0FA7-6494FA3162E1}" dt="2024-02-29T14:11:55.941" v="10"/>
        <pc:sldMkLst>
          <pc:docMk/>
          <pc:sldMk cId="785115983" sldId="825"/>
        </pc:sldMkLst>
      </pc:sldChg>
      <pc:sldChg chg="del">
        <pc:chgData name="Alana Rivera" userId="S::arg3669@ads.northwestern.edu::fc8b707a-b7e9-4f2a-8d71-2d76819b7881" providerId="AD" clId="Web-{11E58CCE-FCA0-14FA-0FA7-6494FA3162E1}" dt="2024-02-29T14:11:55.112" v="9"/>
        <pc:sldMkLst>
          <pc:docMk/>
          <pc:sldMk cId="3030449316" sldId="826"/>
        </pc:sldMkLst>
      </pc:sldChg>
      <pc:sldChg chg="del">
        <pc:chgData name="Alana Rivera" userId="S::arg3669@ads.northwestern.edu::fc8b707a-b7e9-4f2a-8d71-2d76819b7881" providerId="AD" clId="Web-{11E58CCE-FCA0-14FA-0FA7-6494FA3162E1}" dt="2024-02-29T14:12:03.534" v="12"/>
        <pc:sldMkLst>
          <pc:docMk/>
          <pc:sldMk cId="4283907660" sldId="827"/>
        </pc:sldMkLst>
      </pc:sldChg>
      <pc:sldChg chg="del">
        <pc:chgData name="Alana Rivera" userId="S::arg3669@ads.northwestern.edu::fc8b707a-b7e9-4f2a-8d71-2d76819b7881" providerId="AD" clId="Web-{11E58CCE-FCA0-14FA-0FA7-6494FA3162E1}" dt="2024-02-29T14:11:56.972" v="11"/>
        <pc:sldMkLst>
          <pc:docMk/>
          <pc:sldMk cId="3429940818" sldId="828"/>
        </pc:sldMkLst>
      </pc:sldChg>
      <pc:sldChg chg="add del">
        <pc:chgData name="Alana Rivera" userId="S::arg3669@ads.northwestern.edu::fc8b707a-b7e9-4f2a-8d71-2d76819b7881" providerId="AD" clId="Web-{11E58CCE-FCA0-14FA-0FA7-6494FA3162E1}" dt="2024-02-29T14:33:22.252" v="78"/>
        <pc:sldMkLst>
          <pc:docMk/>
          <pc:sldMk cId="3419957415" sldId="829"/>
        </pc:sldMkLst>
      </pc:sldChg>
      <pc:sldChg chg="add del">
        <pc:chgData name="Alana Rivera" userId="S::arg3669@ads.northwestern.edu::fc8b707a-b7e9-4f2a-8d71-2d76819b7881" providerId="AD" clId="Web-{11E58CCE-FCA0-14FA-0FA7-6494FA3162E1}" dt="2024-02-29T14:33:22.361" v="81"/>
        <pc:sldMkLst>
          <pc:docMk/>
          <pc:sldMk cId="3352784023" sldId="830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0.699" v="64"/>
        <pc:sldMkLst>
          <pc:docMk/>
          <pc:sldMk cId="1655365631" sldId="835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0.808" v="65"/>
        <pc:sldMkLst>
          <pc:docMk/>
          <pc:sldMk cId="4237785977" sldId="836"/>
        </pc:sldMkLst>
      </pc:sldChg>
      <pc:sldChg chg="add ord replId">
        <pc:chgData name="Alana Rivera" userId="S::arg3669@ads.northwestern.edu::fc8b707a-b7e9-4f2a-8d71-2d76819b7881" providerId="AD" clId="Web-{11E58CCE-FCA0-14FA-0FA7-6494FA3162E1}" dt="2024-02-29T14:35:22.228" v="87"/>
        <pc:sldMkLst>
          <pc:docMk/>
          <pc:sldMk cId="588152881" sldId="837"/>
        </pc:sldMkLst>
      </pc:sldChg>
      <pc:sldChg chg="add replId addCm">
        <pc:chgData name="Alana Rivera" userId="S::arg3669@ads.northwestern.edu::fc8b707a-b7e9-4f2a-8d71-2d76819b7881" providerId="AD" clId="Web-{11E58CCE-FCA0-14FA-0FA7-6494FA3162E1}" dt="2024-02-29T14:35:24.255" v="88"/>
        <pc:sldMkLst>
          <pc:docMk/>
          <pc:sldMk cId="2544469860" sldId="83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11E58CCE-FCA0-14FA-0FA7-6494FA3162E1}" dt="2024-02-29T14:35:24.255" v="88"/>
              <pc2:cmMkLst xmlns:pc2="http://schemas.microsoft.com/office/powerpoint/2019/9/main/command">
                <pc:docMk/>
                <pc:sldMk cId="2544469860" sldId="838"/>
                <pc2:cmMk id="{59E838E4-51CC-4537-88E9-2E83CB870FFF}"/>
              </pc2:cmMkLst>
            </pc226:cmChg>
          </p:ext>
        </pc:extLst>
      </pc:sldChg>
      <pc:sldChg chg="add replId">
        <pc:chgData name="Alana Rivera" userId="S::arg3669@ads.northwestern.edu::fc8b707a-b7e9-4f2a-8d71-2d76819b7881" providerId="AD" clId="Web-{11E58CCE-FCA0-14FA-0FA7-6494FA3162E1}" dt="2024-02-29T14:29:02.433" v="68"/>
        <pc:sldMkLst>
          <pc:docMk/>
          <pc:sldMk cId="1648343968" sldId="839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2.652" v="69"/>
        <pc:sldMkLst>
          <pc:docMk/>
          <pc:sldMk cId="960009964" sldId="840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3.043" v="70"/>
        <pc:sldMkLst>
          <pc:docMk/>
          <pc:sldMk cId="1299017448" sldId="841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3.152" v="71"/>
        <pc:sldMkLst>
          <pc:docMk/>
          <pc:sldMk cId="1872583024" sldId="842"/>
        </pc:sldMkLst>
      </pc:sldChg>
      <pc:sldChg chg="add replId">
        <pc:chgData name="Alana Rivera" userId="S::arg3669@ads.northwestern.edu::fc8b707a-b7e9-4f2a-8d71-2d76819b7881" providerId="AD" clId="Web-{11E58CCE-FCA0-14FA-0FA7-6494FA3162E1}" dt="2024-02-29T14:29:03.199" v="72"/>
        <pc:sldMkLst>
          <pc:docMk/>
          <pc:sldMk cId="2363176873" sldId="843"/>
        </pc:sldMkLst>
      </pc:sldChg>
    </pc:docChg>
  </pc:docChgLst>
  <pc:docChgLst>
    <pc:chgData name="Aleena Lida Surenian" userId="S::als0813@ads.northwestern.edu::e2fd0e4e-6417-49b0-ab16-0ba26a1719f0" providerId="AD" clId="Web-{6C5EEFCA-EE5B-8DAE-C564-25F67A93EB0B}"/>
    <pc:docChg chg="modSld">
      <pc:chgData name="Aleena Lida Surenian" userId="S::als0813@ads.northwestern.edu::e2fd0e4e-6417-49b0-ab16-0ba26a1719f0" providerId="AD" clId="Web-{6C5EEFCA-EE5B-8DAE-C564-25F67A93EB0B}" dt="2024-01-16T15:14:25.316" v="51" actId="20577"/>
      <pc:docMkLst>
        <pc:docMk/>
      </pc:docMkLst>
      <pc:sldChg chg="delSp modSp">
        <pc:chgData name="Aleena Lida Surenian" userId="S::als0813@ads.northwestern.edu::e2fd0e4e-6417-49b0-ab16-0ba26a1719f0" providerId="AD" clId="Web-{6C5EEFCA-EE5B-8DAE-C564-25F67A93EB0B}" dt="2024-01-16T15:14:25.316" v="51" actId="20577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6C5EEFCA-EE5B-8DAE-C564-25F67A93EB0B}" dt="2024-01-16T15:14:25.316" v="51" actId="20577"/>
          <ac:spMkLst>
            <pc:docMk/>
            <pc:sldMk cId="149255822" sldId="700"/>
            <ac:spMk id="3" creationId="{1419A524-96F5-A0B2-CACE-F9567471AB2E}"/>
          </ac:spMkLst>
        </pc:spChg>
        <pc:picChg chg="del">
          <ac:chgData name="Aleena Lida Surenian" userId="S::als0813@ads.northwestern.edu::e2fd0e4e-6417-49b0-ab16-0ba26a1719f0" providerId="AD" clId="Web-{6C5EEFCA-EE5B-8DAE-C564-25F67A93EB0B}" dt="2024-01-16T15:13:08.110" v="7"/>
          <ac:picMkLst>
            <pc:docMk/>
            <pc:sldMk cId="149255822" sldId="700"/>
            <ac:picMk id="7" creationId="{C04AC905-D8CE-831F-C206-750BAE283CDA}"/>
          </ac:picMkLst>
        </pc:picChg>
      </pc:sldChg>
    </pc:docChg>
  </pc:docChgLst>
  <pc:docChgLst>
    <pc:chgData name="Eileen Fleming Suse" userId="S::efs3844@ads.northwestern.edu::725c94ef-d051-42d7-9d33-8572765d592b" providerId="AD" clId="Web-{FEDACC2B-683C-D854-9349-C0440BDC96E1}"/>
    <pc:docChg chg="addSld delSld modSld sldOrd modMainMaster">
      <pc:chgData name="Eileen Fleming Suse" userId="S::efs3844@ads.northwestern.edu::725c94ef-d051-42d7-9d33-8572765d592b" providerId="AD" clId="Web-{FEDACC2B-683C-D854-9349-C0440BDC96E1}" dt="2023-03-06T15:23:39.907" v="200"/>
      <pc:docMkLst>
        <pc:docMk/>
      </pc:docMkLst>
      <pc:sldChg chg="modSp">
        <pc:chgData name="Eileen Fleming Suse" userId="S::efs3844@ads.northwestern.edu::725c94ef-d051-42d7-9d33-8572765d592b" providerId="AD" clId="Web-{FEDACC2B-683C-D854-9349-C0440BDC96E1}" dt="2023-03-06T15:19:53.182" v="150" actId="20577"/>
        <pc:sldMkLst>
          <pc:docMk/>
          <pc:sldMk cId="1933816182" sldId="653"/>
        </pc:sldMkLst>
        <pc:spChg chg="mod">
          <ac:chgData name="Eileen Fleming Suse" userId="S::efs3844@ads.northwestern.edu::725c94ef-d051-42d7-9d33-8572765d592b" providerId="AD" clId="Web-{FEDACC2B-683C-D854-9349-C0440BDC96E1}" dt="2023-03-06T15:19:53.182" v="150" actId="20577"/>
          <ac:spMkLst>
            <pc:docMk/>
            <pc:sldMk cId="1933816182" sldId="653"/>
            <ac:spMk id="6" creationId="{B486F3F2-F4E9-83AE-B2E9-9FB104A5F282}"/>
          </ac:spMkLst>
        </pc:spChg>
      </pc:sldChg>
      <pc:sldChg chg="modSp">
        <pc:chgData name="Eileen Fleming Suse" userId="S::efs3844@ads.northwestern.edu::725c94ef-d051-42d7-9d33-8572765d592b" providerId="AD" clId="Web-{FEDACC2B-683C-D854-9349-C0440BDC96E1}" dt="2023-03-06T15:20:06.557" v="162"/>
        <pc:sldMkLst>
          <pc:docMk/>
          <pc:sldMk cId="777408379" sldId="671"/>
        </pc:sldMkLst>
        <pc:graphicFrameChg chg="mod modGraphic">
          <ac:chgData name="Eileen Fleming Suse" userId="S::efs3844@ads.northwestern.edu::725c94ef-d051-42d7-9d33-8572765d592b" providerId="AD" clId="Web-{FEDACC2B-683C-D854-9349-C0440BDC96E1}" dt="2023-03-06T15:20:06.557" v="162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del">
        <pc:chgData name="Eileen Fleming Suse" userId="S::efs3844@ads.northwestern.edu::725c94ef-d051-42d7-9d33-8572765d592b" providerId="AD" clId="Web-{FEDACC2B-683C-D854-9349-C0440BDC96E1}" dt="2023-03-06T15:22:49.671" v="197"/>
        <pc:sldMkLst>
          <pc:docMk/>
          <pc:sldMk cId="248905733" sldId="685"/>
        </pc:sldMkLst>
      </pc:sldChg>
      <pc:sldChg chg="modSp ord">
        <pc:chgData name="Eileen Fleming Suse" userId="S::efs3844@ads.northwestern.edu::725c94ef-d051-42d7-9d33-8572765d592b" providerId="AD" clId="Web-{FEDACC2B-683C-D854-9349-C0440BDC96E1}" dt="2023-03-06T15:18:54.242" v="47"/>
        <pc:sldMkLst>
          <pc:docMk/>
          <pc:sldMk cId="1618859033" sldId="693"/>
        </pc:sldMkLst>
        <pc:spChg chg="mod">
          <ac:chgData name="Eileen Fleming Suse" userId="S::efs3844@ads.northwestern.edu::725c94ef-d051-42d7-9d33-8572765d592b" providerId="AD" clId="Web-{FEDACC2B-683C-D854-9349-C0440BDC96E1}" dt="2023-03-06T15:18:54.242" v="47"/>
          <ac:spMkLst>
            <pc:docMk/>
            <pc:sldMk cId="1618859033" sldId="693"/>
            <ac:spMk id="2" creationId="{7719FD7A-7B92-EC42-6554-FA310B6714B1}"/>
          </ac:spMkLst>
        </pc:spChg>
        <pc:graphicFrameChg chg="mod modGraphic">
          <ac:chgData name="Eileen Fleming Suse" userId="S::efs3844@ads.northwestern.edu::725c94ef-d051-42d7-9d33-8572765d592b" providerId="AD" clId="Web-{FEDACC2B-683C-D854-9349-C0440BDC96E1}" dt="2023-03-06T15:18:46.836" v="45"/>
          <ac:graphicFrameMkLst>
            <pc:docMk/>
            <pc:sldMk cId="1618859033" sldId="693"/>
            <ac:graphicFrameMk id="6" creationId="{ABE664EC-DB8D-1736-BD6F-502306CFE78D}"/>
          </ac:graphicFrameMkLst>
        </pc:graphicFrameChg>
      </pc:sldChg>
      <pc:sldChg chg="modSp del">
        <pc:chgData name="Eileen Fleming Suse" userId="S::efs3844@ads.northwestern.edu::725c94ef-d051-42d7-9d33-8572765d592b" providerId="AD" clId="Web-{FEDACC2B-683C-D854-9349-C0440BDC96E1}" dt="2023-03-06T15:22:13.139" v="192"/>
        <pc:sldMkLst>
          <pc:docMk/>
          <pc:sldMk cId="1321989229" sldId="708"/>
        </pc:sldMkLst>
        <pc:graphicFrameChg chg="mod modGraphic">
          <ac:chgData name="Eileen Fleming Suse" userId="S::efs3844@ads.northwestern.edu::725c94ef-d051-42d7-9d33-8572765d592b" providerId="AD" clId="Web-{FEDACC2B-683C-D854-9349-C0440BDC96E1}" dt="2023-03-06T15:21:00.683" v="190"/>
          <ac:graphicFrameMkLst>
            <pc:docMk/>
            <pc:sldMk cId="1321989229" sldId="708"/>
            <ac:graphicFrameMk id="7" creationId="{B0AB755A-CFDB-CB12-C9A4-1B8DFB38A37D}"/>
          </ac:graphicFrameMkLst>
        </pc:graphicFrameChg>
      </pc:sldChg>
      <pc:sldChg chg="addSp delSp modSp">
        <pc:chgData name="Eileen Fleming Suse" userId="S::efs3844@ads.northwestern.edu::725c94ef-d051-42d7-9d33-8572765d592b" providerId="AD" clId="Web-{FEDACC2B-683C-D854-9349-C0440BDC96E1}" dt="2023-03-06T15:00:09.633" v="20"/>
        <pc:sldMkLst>
          <pc:docMk/>
          <pc:sldMk cId="2905881923" sldId="716"/>
        </pc:sldMkLst>
        <pc:spChg chg="mod">
          <ac:chgData name="Eileen Fleming Suse" userId="S::efs3844@ads.northwestern.edu::725c94ef-d051-42d7-9d33-8572765d592b" providerId="AD" clId="Web-{FEDACC2B-683C-D854-9349-C0440BDC96E1}" dt="2023-03-06T15:00:09.633" v="20"/>
          <ac:spMkLst>
            <pc:docMk/>
            <pc:sldMk cId="2905881923" sldId="716"/>
            <ac:spMk id="2" creationId="{16817803-E785-34FC-07CE-0897747A5350}"/>
          </ac:spMkLst>
        </pc:spChg>
        <pc:spChg chg="mod">
          <ac:chgData name="Eileen Fleming Suse" userId="S::efs3844@ads.northwestern.edu::725c94ef-d051-42d7-9d33-8572765d592b" providerId="AD" clId="Web-{FEDACC2B-683C-D854-9349-C0440BDC96E1}" dt="2023-03-06T14:51:10.258" v="10" actId="20577"/>
          <ac:spMkLst>
            <pc:docMk/>
            <pc:sldMk cId="2905881923" sldId="716"/>
            <ac:spMk id="11" creationId="{EBE5A79F-94B2-2B77-6A66-47A0636E788D}"/>
          </ac:spMkLst>
        </pc:spChg>
        <pc:spChg chg="mod">
          <ac:chgData name="Eileen Fleming Suse" userId="S::efs3844@ads.northwestern.edu::725c94ef-d051-42d7-9d33-8572765d592b" providerId="AD" clId="Web-{FEDACC2B-683C-D854-9349-C0440BDC96E1}" dt="2023-03-06T14:54:47.467" v="18" actId="20577"/>
          <ac:spMkLst>
            <pc:docMk/>
            <pc:sldMk cId="2905881923" sldId="716"/>
            <ac:spMk id="12" creationId="{264C5A32-C49E-EB9B-26E3-DEB2108A83B8}"/>
          </ac:spMkLst>
        </pc:spChg>
        <pc:picChg chg="del">
          <ac:chgData name="Eileen Fleming Suse" userId="S::efs3844@ads.northwestern.edu::725c94ef-d051-42d7-9d33-8572765d592b" providerId="AD" clId="Web-{FEDACC2B-683C-D854-9349-C0440BDC96E1}" dt="2023-03-06T14:49:29.724" v="8"/>
          <ac:picMkLst>
            <pc:docMk/>
            <pc:sldMk cId="2905881923" sldId="716"/>
            <ac:picMk id="3" creationId="{A10A0AAF-C4D3-9A68-D31F-D171FB3814DF}"/>
          </ac:picMkLst>
        </pc:picChg>
        <pc:picChg chg="add mod ord">
          <ac:chgData name="Eileen Fleming Suse" userId="S::efs3844@ads.northwestern.edu::725c94ef-d051-42d7-9d33-8572765d592b" providerId="AD" clId="Web-{FEDACC2B-683C-D854-9349-C0440BDC96E1}" dt="2023-03-06T14:51:27.977" v="15"/>
          <ac:picMkLst>
            <pc:docMk/>
            <pc:sldMk cId="2905881923" sldId="716"/>
            <ac:picMk id="6" creationId="{79EB24CE-2F86-22B6-8978-4B1CC440557E}"/>
          </ac:picMkLst>
        </pc:picChg>
        <pc:cxnChg chg="mod">
          <ac:chgData name="Eileen Fleming Suse" userId="S::efs3844@ads.northwestern.edu::725c94ef-d051-42d7-9d33-8572765d592b" providerId="AD" clId="Web-{FEDACC2B-683C-D854-9349-C0440BDC96E1}" dt="2023-03-06T14:54:51.514" v="19" actId="1076"/>
          <ac:cxnSpMkLst>
            <pc:docMk/>
            <pc:sldMk cId="2905881923" sldId="716"/>
            <ac:cxnSpMk id="7" creationId="{755E37EB-3D36-9482-9CA4-EBFB39C6A532}"/>
          </ac:cxnSpMkLst>
        </pc:cxnChg>
      </pc:sldChg>
      <pc:sldChg chg="del">
        <pc:chgData name="Eileen Fleming Suse" userId="S::efs3844@ads.northwestern.edu::725c94ef-d051-42d7-9d33-8572765d592b" providerId="AD" clId="Web-{FEDACC2B-683C-D854-9349-C0440BDC96E1}" dt="2023-03-06T15:22:59.062" v="198"/>
        <pc:sldMkLst>
          <pc:docMk/>
          <pc:sldMk cId="3374929780" sldId="723"/>
        </pc:sldMkLst>
      </pc:sldChg>
      <pc:sldChg chg="add">
        <pc:chgData name="Eileen Fleming Suse" userId="S::efs3844@ads.northwestern.edu::725c94ef-d051-42d7-9d33-8572765d592b" providerId="AD" clId="Web-{FEDACC2B-683C-D854-9349-C0440BDC96E1}" dt="2023-03-06T14:42:29.056" v="0"/>
        <pc:sldMkLst>
          <pc:docMk/>
          <pc:sldMk cId="2216606819" sldId="738"/>
        </pc:sldMkLst>
      </pc:sldChg>
      <pc:sldChg chg="add">
        <pc:chgData name="Eileen Fleming Suse" userId="S::efs3844@ads.northwestern.edu::725c94ef-d051-42d7-9d33-8572765d592b" providerId="AD" clId="Web-{FEDACC2B-683C-D854-9349-C0440BDC96E1}" dt="2023-03-06T14:42:48.885" v="1"/>
        <pc:sldMkLst>
          <pc:docMk/>
          <pc:sldMk cId="491189780" sldId="739"/>
        </pc:sldMkLst>
      </pc:sldChg>
      <pc:sldChg chg="add">
        <pc:chgData name="Eileen Fleming Suse" userId="S::efs3844@ads.northwestern.edu::725c94ef-d051-42d7-9d33-8572765d592b" providerId="AD" clId="Web-{FEDACC2B-683C-D854-9349-C0440BDC96E1}" dt="2023-03-06T14:43:09.463" v="2"/>
        <pc:sldMkLst>
          <pc:docMk/>
          <pc:sldMk cId="777329733" sldId="740"/>
        </pc:sldMkLst>
      </pc:sldChg>
      <pc:sldChg chg="modSp add">
        <pc:chgData name="Eileen Fleming Suse" userId="S::efs3844@ads.northwestern.edu::725c94ef-d051-42d7-9d33-8572765d592b" providerId="AD" clId="Web-{FEDACC2B-683C-D854-9349-C0440BDC96E1}" dt="2023-03-06T15:22:33.092" v="196"/>
        <pc:sldMkLst>
          <pc:docMk/>
          <pc:sldMk cId="1102152852" sldId="741"/>
        </pc:sldMkLst>
        <pc:graphicFrameChg chg="mod modGraphic">
          <ac:chgData name="Eileen Fleming Suse" userId="S::efs3844@ads.northwestern.edu::725c94ef-d051-42d7-9d33-8572765d592b" providerId="AD" clId="Web-{FEDACC2B-683C-D854-9349-C0440BDC96E1}" dt="2023-03-06T15:22:33.092" v="196"/>
          <ac:graphicFrameMkLst>
            <pc:docMk/>
            <pc:sldMk cId="1102152852" sldId="741"/>
            <ac:graphicFrameMk id="7" creationId="{00000000-0000-0000-0000-000000000000}"/>
          </ac:graphicFrameMkLst>
        </pc:graphicFrameChg>
      </pc:sldChg>
      <pc:sldChg chg="add ord">
        <pc:chgData name="Eileen Fleming Suse" userId="S::efs3844@ads.northwestern.edu::725c94ef-d051-42d7-9d33-8572765d592b" providerId="AD" clId="Web-{FEDACC2B-683C-D854-9349-C0440BDC96E1}" dt="2023-03-06T15:23:39.907" v="200"/>
        <pc:sldMkLst>
          <pc:docMk/>
          <pc:sldMk cId="590066452" sldId="742"/>
        </pc:sldMkLst>
      </pc:sldChg>
      <pc:sldMasterChg chg="addSldLayout modSldLayout">
        <pc:chgData name="Eileen Fleming Suse" userId="S::efs3844@ads.northwestern.edu::725c94ef-d051-42d7-9d33-8572765d592b" providerId="AD" clId="Web-{FEDACC2B-683C-D854-9349-C0440BDC96E1}" dt="2023-03-06T15:22:09.560" v="191"/>
        <pc:sldMasterMkLst>
          <pc:docMk/>
          <pc:sldMasterMk cId="989504779" sldId="2147483734"/>
        </pc:sldMasterMkLst>
        <pc:sldLayoutChg chg="replId">
          <pc:chgData name="Eileen Fleming Suse" userId="S::efs3844@ads.northwestern.edu::725c94ef-d051-42d7-9d33-8572765d592b" providerId="AD" clId="Web-{FEDACC2B-683C-D854-9349-C0440BDC96E1}" dt="2023-03-06T15:22:09.560" v="191"/>
          <pc:sldLayoutMkLst>
            <pc:docMk/>
            <pc:sldMasterMk cId="989504779" sldId="2147483734"/>
            <pc:sldLayoutMk cId="2422401269" sldId="2147484573"/>
          </pc:sldLayoutMkLst>
        </pc:sldLayoutChg>
        <pc:sldLayoutChg chg="add">
          <pc:chgData name="Eileen Fleming Suse" userId="S::efs3844@ads.northwestern.edu::725c94ef-d051-42d7-9d33-8572765d592b" providerId="AD" clId="Web-{FEDACC2B-683C-D854-9349-C0440BDC96E1}" dt="2023-03-06T15:22:09.560" v="191"/>
          <pc:sldLayoutMkLst>
            <pc:docMk/>
            <pc:sldMasterMk cId="989504779" sldId="2147483734"/>
            <pc:sldLayoutMk cId="4224424939" sldId="2147484574"/>
          </pc:sldLayoutMkLst>
        </pc:sldLayoutChg>
        <pc:sldLayoutChg chg="add">
          <pc:chgData name="Eileen Fleming Suse" userId="S::efs3844@ads.northwestern.edu::725c94ef-d051-42d7-9d33-8572765d592b" providerId="AD" clId="Web-{FEDACC2B-683C-D854-9349-C0440BDC96E1}" dt="2023-03-06T15:22:09.560" v="191"/>
          <pc:sldLayoutMkLst>
            <pc:docMk/>
            <pc:sldMasterMk cId="989504779" sldId="2147483734"/>
            <pc:sldLayoutMk cId="2441756453" sldId="2147484575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A53C18A3-138A-44F0-36DA-DD44B135D03D}"/>
    <pc:docChg chg="addSld delSld modSld sldOrd">
      <pc:chgData name="Aleena Lida Surenian" userId="S::als0813@ads.northwestern.edu::e2fd0e4e-6417-49b0-ab16-0ba26a1719f0" providerId="AD" clId="Web-{A53C18A3-138A-44F0-36DA-DD44B135D03D}" dt="2023-03-01T18:48:06.068" v="213" actId="20577"/>
      <pc:docMkLst>
        <pc:docMk/>
      </pc:docMkLst>
      <pc:sldChg chg="modSp">
        <pc:chgData name="Aleena Lida Surenian" userId="S::als0813@ads.northwestern.edu::e2fd0e4e-6417-49b0-ab16-0ba26a1719f0" providerId="AD" clId="Web-{A53C18A3-138A-44F0-36DA-DD44B135D03D}" dt="2023-03-01T18:35:04.085" v="83" actId="20577"/>
        <pc:sldMkLst>
          <pc:docMk/>
          <pc:sldMk cId="3104795000" sldId="694"/>
        </pc:sldMkLst>
        <pc:spChg chg="mod">
          <ac:chgData name="Aleena Lida Surenian" userId="S::als0813@ads.northwestern.edu::e2fd0e4e-6417-49b0-ab16-0ba26a1719f0" providerId="AD" clId="Web-{A53C18A3-138A-44F0-36DA-DD44B135D03D}" dt="2023-03-01T18:35:04.085" v="83" actId="20577"/>
          <ac:spMkLst>
            <pc:docMk/>
            <pc:sldMk cId="3104795000" sldId="694"/>
            <ac:spMk id="3" creationId="{C072A9ED-20FF-40E5-9793-79452C94FE39}"/>
          </ac:spMkLst>
        </pc:spChg>
      </pc:sldChg>
      <pc:sldChg chg="ord">
        <pc:chgData name="Aleena Lida Surenian" userId="S::als0813@ads.northwestern.edu::e2fd0e4e-6417-49b0-ab16-0ba26a1719f0" providerId="AD" clId="Web-{A53C18A3-138A-44F0-36DA-DD44B135D03D}" dt="2023-03-01T18:42:56.103" v="211"/>
        <pc:sldMkLst>
          <pc:docMk/>
          <pc:sldMk cId="872415970" sldId="697"/>
        </pc:sldMkLst>
      </pc:sldChg>
      <pc:sldChg chg="addSp modSp">
        <pc:chgData name="Aleena Lida Surenian" userId="S::als0813@ads.northwestern.edu::e2fd0e4e-6417-49b0-ab16-0ba26a1719f0" providerId="AD" clId="Web-{A53C18A3-138A-44F0-36DA-DD44B135D03D}" dt="2023-03-01T18:36:02.337" v="94" actId="14100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A53C18A3-138A-44F0-36DA-DD44B135D03D}" dt="2023-03-01T18:24:31.123" v="70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A53C18A3-138A-44F0-36DA-DD44B135D03D}" dt="2023-03-01T18:24:24.201" v="69" actId="20577"/>
          <ac:spMkLst>
            <pc:docMk/>
            <pc:sldMk cId="3682438970" sldId="698"/>
            <ac:spMk id="3" creationId="{1419A524-96F5-A0B2-CACE-F9567471AB2E}"/>
          </ac:spMkLst>
        </pc:spChg>
        <pc:spChg chg="add mod">
          <ac:chgData name="Aleena Lida Surenian" userId="S::als0813@ads.northwestern.edu::e2fd0e4e-6417-49b0-ab16-0ba26a1719f0" providerId="AD" clId="Web-{A53C18A3-138A-44F0-36DA-DD44B135D03D}" dt="2023-03-01T18:36:02.337" v="94" actId="14100"/>
          <ac:spMkLst>
            <pc:docMk/>
            <pc:sldMk cId="3682438970" sldId="698"/>
            <ac:spMk id="7" creationId="{E0DDD91A-F49B-E7FA-F65F-DEF38C972D7B}"/>
          </ac:spMkLst>
        </pc:spChg>
      </pc:sldChg>
      <pc:sldChg chg="modSp">
        <pc:chgData name="Aleena Lida Surenian" userId="S::als0813@ads.northwestern.edu::e2fd0e4e-6417-49b0-ab16-0ba26a1719f0" providerId="AD" clId="Web-{A53C18A3-138A-44F0-36DA-DD44B135D03D}" dt="2023-03-01T18:48:06.068" v="213" actId="20577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A53C18A3-138A-44F0-36DA-DD44B135D03D}" dt="2023-03-01T18:17:59.920" v="30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A53C18A3-138A-44F0-36DA-DD44B135D03D}" dt="2023-03-01T18:48:06.068" v="213" actId="20577"/>
          <ac:spMkLst>
            <pc:docMk/>
            <pc:sldMk cId="149255822" sldId="700"/>
            <ac:spMk id="3" creationId="{1419A524-96F5-A0B2-CACE-F9567471AB2E}"/>
          </ac:spMkLst>
        </pc:spChg>
      </pc:sldChg>
      <pc:sldChg chg="ord">
        <pc:chgData name="Aleena Lida Surenian" userId="S::als0813@ads.northwestern.edu::e2fd0e4e-6417-49b0-ab16-0ba26a1719f0" providerId="AD" clId="Web-{A53C18A3-138A-44F0-36DA-DD44B135D03D}" dt="2023-03-01T18:40:21.784" v="206"/>
        <pc:sldMkLst>
          <pc:docMk/>
          <pc:sldMk cId="3072489171" sldId="724"/>
        </pc:sldMkLst>
      </pc:sldChg>
      <pc:sldChg chg="modSp new">
        <pc:chgData name="Aleena Lida Surenian" userId="S::als0813@ads.northwestern.edu::e2fd0e4e-6417-49b0-ab16-0ba26a1719f0" providerId="AD" clId="Web-{A53C18A3-138A-44F0-36DA-DD44B135D03D}" dt="2023-03-01T18:38:41.484" v="161"/>
        <pc:sldMkLst>
          <pc:docMk/>
          <pc:sldMk cId="1545632957" sldId="729"/>
        </pc:sldMkLst>
        <pc:spChg chg="mod">
          <ac:chgData name="Aleena Lida Surenian" userId="S::als0813@ads.northwestern.edu::e2fd0e4e-6417-49b0-ab16-0ba26a1719f0" providerId="AD" clId="Web-{A53C18A3-138A-44F0-36DA-DD44B135D03D}" dt="2023-03-01T18:38:41.484" v="161"/>
          <ac:spMkLst>
            <pc:docMk/>
            <pc:sldMk cId="1545632957" sldId="729"/>
            <ac:spMk id="2" creationId="{1A0F8578-93ED-D009-8562-90753379F670}"/>
          </ac:spMkLst>
        </pc:spChg>
        <pc:spChg chg="mod">
          <ac:chgData name="Aleena Lida Surenian" userId="S::als0813@ads.northwestern.edu::e2fd0e4e-6417-49b0-ab16-0ba26a1719f0" providerId="AD" clId="Web-{A53C18A3-138A-44F0-36DA-DD44B135D03D}" dt="2023-03-01T18:38:09.889" v="142" actId="20577"/>
          <ac:spMkLst>
            <pc:docMk/>
            <pc:sldMk cId="1545632957" sldId="729"/>
            <ac:spMk id="3" creationId="{A7B6E2D0-1D97-60D1-5FEF-B69401319127}"/>
          </ac:spMkLst>
        </pc:spChg>
      </pc:sldChg>
      <pc:sldChg chg="new del">
        <pc:chgData name="Aleena Lida Surenian" userId="S::als0813@ads.northwestern.edu::e2fd0e4e-6417-49b0-ab16-0ba26a1719f0" providerId="AD" clId="Web-{A53C18A3-138A-44F0-36DA-DD44B135D03D}" dt="2023-03-01T18:36:44.464" v="96"/>
        <pc:sldMkLst>
          <pc:docMk/>
          <pc:sldMk cId="3641085266" sldId="729"/>
        </pc:sldMkLst>
      </pc:sldChg>
      <pc:sldChg chg="modSp new">
        <pc:chgData name="Aleena Lida Surenian" userId="S::als0813@ads.northwestern.edu::e2fd0e4e-6417-49b0-ab16-0ba26a1719f0" providerId="AD" clId="Web-{A53C18A3-138A-44F0-36DA-DD44B135D03D}" dt="2023-03-01T18:39:35.330" v="205" actId="20577"/>
        <pc:sldMkLst>
          <pc:docMk/>
          <pc:sldMk cId="2190146337" sldId="730"/>
        </pc:sldMkLst>
        <pc:spChg chg="mod">
          <ac:chgData name="Aleena Lida Surenian" userId="S::als0813@ads.northwestern.edu::e2fd0e4e-6417-49b0-ab16-0ba26a1719f0" providerId="AD" clId="Web-{A53C18A3-138A-44F0-36DA-DD44B135D03D}" dt="2023-03-01T18:38:35.140" v="160"/>
          <ac:spMkLst>
            <pc:docMk/>
            <pc:sldMk cId="2190146337" sldId="730"/>
            <ac:spMk id="2" creationId="{BBCB6785-E0B9-83D8-83A3-ACC137333A7D}"/>
          </ac:spMkLst>
        </pc:spChg>
        <pc:spChg chg="mod">
          <ac:chgData name="Aleena Lida Surenian" userId="S::als0813@ads.northwestern.edu::e2fd0e4e-6417-49b0-ab16-0ba26a1719f0" providerId="AD" clId="Web-{A53C18A3-138A-44F0-36DA-DD44B135D03D}" dt="2023-03-01T18:39:35.330" v="205" actId="20577"/>
          <ac:spMkLst>
            <pc:docMk/>
            <pc:sldMk cId="2190146337" sldId="730"/>
            <ac:spMk id="3" creationId="{C9753DA4-0216-47C5-D694-2A19B72AEE39}"/>
          </ac:spMkLst>
        </pc:spChg>
      </pc:sldChg>
      <pc:sldChg chg="modSp add ord">
        <pc:chgData name="Aleena Lida Surenian" userId="S::als0813@ads.northwestern.edu::e2fd0e4e-6417-49b0-ab16-0ba26a1719f0" providerId="AD" clId="Web-{A53C18A3-138A-44F0-36DA-DD44B135D03D}" dt="2023-03-01T18:42:58.462" v="212"/>
        <pc:sldMkLst>
          <pc:docMk/>
          <pc:sldMk cId="1539759889" sldId="731"/>
        </pc:sldMkLst>
        <pc:spChg chg="mod">
          <ac:chgData name="Aleena Lida Surenian" userId="S::als0813@ads.northwestern.edu::e2fd0e4e-6417-49b0-ab16-0ba26a1719f0" providerId="AD" clId="Web-{A53C18A3-138A-44F0-36DA-DD44B135D03D}" dt="2023-03-01T18:42:27.696" v="209" actId="20577"/>
          <ac:spMkLst>
            <pc:docMk/>
            <pc:sldMk cId="1539759889" sldId="731"/>
            <ac:spMk id="2" creationId="{F92549B7-6ED0-53FD-9B28-CDA21D98B1DA}"/>
          </ac:spMkLst>
        </pc:spChg>
        <pc:graphicFrameChg chg="mod">
          <ac:chgData name="Aleena Lida Surenian" userId="S::als0813@ads.northwestern.edu::e2fd0e4e-6417-49b0-ab16-0ba26a1719f0" providerId="AD" clId="Web-{A53C18A3-138A-44F0-36DA-DD44B135D03D}" dt="2023-03-01T18:42:37.774" v="210" actId="14100"/>
          <ac:graphicFrameMkLst>
            <pc:docMk/>
            <pc:sldMk cId="1539759889" sldId="731"/>
            <ac:graphicFrameMk id="6" creationId="{E3191E14-BEA4-BFCE-B113-7D7880E23A54}"/>
          </ac:graphicFrameMkLst>
        </pc:graphicFrameChg>
      </pc:sldChg>
    </pc:docChg>
  </pc:docChgLst>
  <pc:docChgLst>
    <pc:chgData name="Alana Rivera" userId="S::arg3669@ads.northwestern.edu::fc8b707a-b7e9-4f2a-8d71-2d76819b7881" providerId="AD" clId="Web-{F000F8C3-643D-0601-D6B3-C6A0148E6D63}"/>
    <pc:docChg chg="addSld delSld modSld sldOrd">
      <pc:chgData name="Alana Rivera" userId="S::arg3669@ads.northwestern.edu::fc8b707a-b7e9-4f2a-8d71-2d76819b7881" providerId="AD" clId="Web-{F000F8C3-643D-0601-D6B3-C6A0148E6D63}" dt="2023-01-03T19:20:48.839" v="117"/>
      <pc:docMkLst>
        <pc:docMk/>
      </pc:docMkLst>
      <pc:sldChg chg="del">
        <pc:chgData name="Alana Rivera" userId="S::arg3669@ads.northwestern.edu::fc8b707a-b7e9-4f2a-8d71-2d76819b7881" providerId="AD" clId="Web-{F000F8C3-643D-0601-D6B3-C6A0148E6D63}" dt="2023-01-03T18:38:57.244" v="2"/>
        <pc:sldMkLst>
          <pc:docMk/>
          <pc:sldMk cId="689945248" sldId="584"/>
        </pc:sldMkLst>
      </pc:sldChg>
      <pc:sldChg chg="del">
        <pc:chgData name="Alana Rivera" userId="S::arg3669@ads.northwestern.edu::fc8b707a-b7e9-4f2a-8d71-2d76819b7881" providerId="AD" clId="Web-{F000F8C3-643D-0601-D6B3-C6A0148E6D63}" dt="2023-01-03T18:38:57.931" v="3"/>
        <pc:sldMkLst>
          <pc:docMk/>
          <pc:sldMk cId="3360143202" sldId="585"/>
        </pc:sldMkLst>
      </pc:sldChg>
      <pc:sldChg chg="del">
        <pc:chgData name="Alana Rivera" userId="S::arg3669@ads.northwestern.edu::fc8b707a-b7e9-4f2a-8d71-2d76819b7881" providerId="AD" clId="Web-{F000F8C3-643D-0601-D6B3-C6A0148E6D63}" dt="2023-01-03T18:38:59.260" v="4"/>
        <pc:sldMkLst>
          <pc:docMk/>
          <pc:sldMk cId="981719180" sldId="586"/>
        </pc:sldMkLst>
      </pc:sldChg>
      <pc:sldChg chg="del">
        <pc:chgData name="Alana Rivera" userId="S::arg3669@ads.northwestern.edu::fc8b707a-b7e9-4f2a-8d71-2d76819b7881" providerId="AD" clId="Web-{F000F8C3-643D-0601-D6B3-C6A0148E6D63}" dt="2023-01-03T18:38:59.963" v="5"/>
        <pc:sldMkLst>
          <pc:docMk/>
          <pc:sldMk cId="901346177" sldId="587"/>
        </pc:sldMkLst>
      </pc:sldChg>
      <pc:sldChg chg="del">
        <pc:chgData name="Alana Rivera" userId="S::arg3669@ads.northwestern.edu::fc8b707a-b7e9-4f2a-8d71-2d76819b7881" providerId="AD" clId="Web-{F000F8C3-643D-0601-D6B3-C6A0148E6D63}" dt="2023-01-03T18:39:07.479" v="6"/>
        <pc:sldMkLst>
          <pc:docMk/>
          <pc:sldMk cId="2667245854" sldId="588"/>
        </pc:sldMkLst>
      </pc:sldChg>
      <pc:sldChg chg="del">
        <pc:chgData name="Alana Rivera" userId="S::arg3669@ads.northwestern.edu::fc8b707a-b7e9-4f2a-8d71-2d76819b7881" providerId="AD" clId="Web-{F000F8C3-643D-0601-D6B3-C6A0148E6D63}" dt="2023-01-03T18:39:08.494" v="7"/>
        <pc:sldMkLst>
          <pc:docMk/>
          <pc:sldMk cId="1197315710" sldId="589"/>
        </pc:sldMkLst>
      </pc:sldChg>
      <pc:sldChg chg="del">
        <pc:chgData name="Alana Rivera" userId="S::arg3669@ads.northwestern.edu::fc8b707a-b7e9-4f2a-8d71-2d76819b7881" providerId="AD" clId="Web-{F000F8C3-643D-0601-D6B3-C6A0148E6D63}" dt="2023-01-03T18:39:09.151" v="8"/>
        <pc:sldMkLst>
          <pc:docMk/>
          <pc:sldMk cId="1950127266" sldId="590"/>
        </pc:sldMkLst>
      </pc:sldChg>
      <pc:sldChg chg="del">
        <pc:chgData name="Alana Rivera" userId="S::arg3669@ads.northwestern.edu::fc8b707a-b7e9-4f2a-8d71-2d76819b7881" providerId="AD" clId="Web-{F000F8C3-643D-0601-D6B3-C6A0148E6D63}" dt="2023-01-03T18:39:09.947" v="9"/>
        <pc:sldMkLst>
          <pc:docMk/>
          <pc:sldMk cId="591439089" sldId="591"/>
        </pc:sldMkLst>
      </pc:sldChg>
      <pc:sldChg chg="del">
        <pc:chgData name="Alana Rivera" userId="S::arg3669@ads.northwestern.edu::fc8b707a-b7e9-4f2a-8d71-2d76819b7881" providerId="AD" clId="Web-{F000F8C3-643D-0601-D6B3-C6A0148E6D63}" dt="2023-01-03T18:39:10.619" v="10"/>
        <pc:sldMkLst>
          <pc:docMk/>
          <pc:sldMk cId="3964030994" sldId="592"/>
        </pc:sldMkLst>
      </pc:sldChg>
      <pc:sldChg chg="del">
        <pc:chgData name="Alana Rivera" userId="S::arg3669@ads.northwestern.edu::fc8b707a-b7e9-4f2a-8d71-2d76819b7881" providerId="AD" clId="Web-{F000F8C3-643D-0601-D6B3-C6A0148E6D63}" dt="2023-01-03T18:58:21.460" v="28"/>
        <pc:sldMkLst>
          <pc:docMk/>
          <pc:sldMk cId="578825509" sldId="597"/>
        </pc:sldMkLst>
      </pc:sldChg>
      <pc:sldChg chg="del">
        <pc:chgData name="Alana Rivera" userId="S::arg3669@ads.northwestern.edu::fc8b707a-b7e9-4f2a-8d71-2d76819b7881" providerId="AD" clId="Web-{F000F8C3-643D-0601-D6B3-C6A0148E6D63}" dt="2023-01-03T18:58:22.257" v="29"/>
        <pc:sldMkLst>
          <pc:docMk/>
          <pc:sldMk cId="931310618" sldId="598"/>
        </pc:sldMkLst>
      </pc:sldChg>
      <pc:sldChg chg="del">
        <pc:chgData name="Alana Rivera" userId="S::arg3669@ads.northwestern.edu::fc8b707a-b7e9-4f2a-8d71-2d76819b7881" providerId="AD" clId="Web-{F000F8C3-643D-0601-D6B3-C6A0148E6D63}" dt="2023-01-03T18:58:00.867" v="25"/>
        <pc:sldMkLst>
          <pc:docMk/>
          <pc:sldMk cId="1344769324" sldId="599"/>
        </pc:sldMkLst>
      </pc:sldChg>
      <pc:sldChg chg="del">
        <pc:chgData name="Alana Rivera" userId="S::arg3669@ads.northwestern.edu::fc8b707a-b7e9-4f2a-8d71-2d76819b7881" providerId="AD" clId="Web-{F000F8C3-643D-0601-D6B3-C6A0148E6D63}" dt="2023-01-03T18:59:20.947" v="31"/>
        <pc:sldMkLst>
          <pc:docMk/>
          <pc:sldMk cId="1398770948" sldId="602"/>
        </pc:sldMkLst>
      </pc:sldChg>
      <pc:sldChg chg="del">
        <pc:chgData name="Alana Rivera" userId="S::arg3669@ads.northwestern.edu::fc8b707a-b7e9-4f2a-8d71-2d76819b7881" providerId="AD" clId="Web-{F000F8C3-643D-0601-D6B3-C6A0148E6D63}" dt="2023-01-03T18:53:25.855" v="22"/>
        <pc:sldMkLst>
          <pc:docMk/>
          <pc:sldMk cId="3027078791" sldId="603"/>
        </pc:sldMkLst>
      </pc:sldChg>
      <pc:sldChg chg="del">
        <pc:chgData name="Alana Rivera" userId="S::arg3669@ads.northwestern.edu::fc8b707a-b7e9-4f2a-8d71-2d76819b7881" providerId="AD" clId="Web-{F000F8C3-643D-0601-D6B3-C6A0148E6D63}" dt="2023-01-03T18:53:28.261" v="23"/>
        <pc:sldMkLst>
          <pc:docMk/>
          <pc:sldMk cId="2441083600" sldId="604"/>
        </pc:sldMkLst>
      </pc:sldChg>
      <pc:sldChg chg="del">
        <pc:chgData name="Alana Rivera" userId="S::arg3669@ads.northwestern.edu::fc8b707a-b7e9-4f2a-8d71-2d76819b7881" providerId="AD" clId="Web-{F000F8C3-643D-0601-D6B3-C6A0148E6D63}" dt="2023-01-03T18:53:30.043" v="24"/>
        <pc:sldMkLst>
          <pc:docMk/>
          <pc:sldMk cId="2801415658" sldId="605"/>
        </pc:sldMkLst>
      </pc:sldChg>
      <pc:sldChg chg="del">
        <pc:chgData name="Alana Rivera" userId="S::arg3669@ads.northwestern.edu::fc8b707a-b7e9-4f2a-8d71-2d76819b7881" providerId="AD" clId="Web-{F000F8C3-643D-0601-D6B3-C6A0148E6D63}" dt="2023-01-03T19:18:35.194" v="109"/>
        <pc:sldMkLst>
          <pc:docMk/>
          <pc:sldMk cId="4081817646" sldId="627"/>
        </pc:sldMkLst>
      </pc:sldChg>
      <pc:sldChg chg="del">
        <pc:chgData name="Alana Rivera" userId="S::arg3669@ads.northwestern.edu::fc8b707a-b7e9-4f2a-8d71-2d76819b7881" providerId="AD" clId="Web-{F000F8C3-643D-0601-D6B3-C6A0148E6D63}" dt="2023-01-03T19:19:34.727" v="110"/>
        <pc:sldMkLst>
          <pc:docMk/>
          <pc:sldMk cId="2653181176" sldId="636"/>
        </pc:sldMkLst>
      </pc:sldChg>
      <pc:sldChg chg="modSp new">
        <pc:chgData name="Alana Rivera" userId="S::arg3669@ads.northwestern.edu::fc8b707a-b7e9-4f2a-8d71-2d76819b7881" providerId="AD" clId="Web-{F000F8C3-643D-0601-D6B3-C6A0148E6D63}" dt="2023-01-03T18:52:56.948" v="21" actId="14100"/>
        <pc:sldMkLst>
          <pc:docMk/>
          <pc:sldMk cId="780674383" sldId="637"/>
        </pc:sldMkLst>
        <pc:spChg chg="mod">
          <ac:chgData name="Alana Rivera" userId="S::arg3669@ads.northwestern.edu::fc8b707a-b7e9-4f2a-8d71-2d76819b7881" providerId="AD" clId="Web-{F000F8C3-643D-0601-D6B3-C6A0148E6D63}" dt="2023-01-03T18:52:45.088" v="19" actId="20577"/>
          <ac:spMkLst>
            <pc:docMk/>
            <pc:sldMk cId="780674383" sldId="637"/>
            <ac:spMk id="2" creationId="{424A33D8-B029-E4EC-68E1-E47AD936A499}"/>
          </ac:spMkLst>
        </pc:spChg>
        <pc:spChg chg="mod">
          <ac:chgData name="Alana Rivera" userId="S::arg3669@ads.northwestern.edu::fc8b707a-b7e9-4f2a-8d71-2d76819b7881" providerId="AD" clId="Web-{F000F8C3-643D-0601-D6B3-C6A0148E6D63}" dt="2023-01-03T18:52:56.948" v="21" actId="14100"/>
          <ac:spMkLst>
            <pc:docMk/>
            <pc:sldMk cId="780674383" sldId="637"/>
            <ac:spMk id="3" creationId="{DA50930E-26CA-0055-B236-924BCF7AB59F}"/>
          </ac:spMkLst>
        </pc:spChg>
      </pc:sldChg>
      <pc:sldChg chg="add del replId">
        <pc:chgData name="Alana Rivera" userId="S::arg3669@ads.northwestern.edu::fc8b707a-b7e9-4f2a-8d71-2d76819b7881" providerId="AD" clId="Web-{F000F8C3-643D-0601-D6B3-C6A0148E6D63}" dt="2023-01-03T18:38:44.712" v="1"/>
        <pc:sldMkLst>
          <pc:docMk/>
          <pc:sldMk cId="1618886147" sldId="637"/>
        </pc:sldMkLst>
      </pc:sldChg>
      <pc:sldChg chg="add">
        <pc:chgData name="Alana Rivera" userId="S::arg3669@ads.northwestern.edu::fc8b707a-b7e9-4f2a-8d71-2d76819b7881" providerId="AD" clId="Web-{F000F8C3-643D-0601-D6B3-C6A0148E6D63}" dt="2023-01-03T18:58:08.460" v="26"/>
        <pc:sldMkLst>
          <pc:docMk/>
          <pc:sldMk cId="1146515898" sldId="638"/>
        </pc:sldMkLst>
      </pc:sldChg>
      <pc:sldChg chg="add">
        <pc:chgData name="Alana Rivera" userId="S::arg3669@ads.northwestern.edu::fc8b707a-b7e9-4f2a-8d71-2d76819b7881" providerId="AD" clId="Web-{F000F8C3-643D-0601-D6B3-C6A0148E6D63}" dt="2023-01-03T18:58:08.553" v="27"/>
        <pc:sldMkLst>
          <pc:docMk/>
          <pc:sldMk cId="3978068538" sldId="639"/>
        </pc:sldMkLst>
      </pc:sldChg>
      <pc:sldChg chg="add">
        <pc:chgData name="Alana Rivera" userId="S::arg3669@ads.northwestern.edu::fc8b707a-b7e9-4f2a-8d71-2d76819b7881" providerId="AD" clId="Web-{F000F8C3-643D-0601-D6B3-C6A0148E6D63}" dt="2023-01-03T18:59:12.009" v="30"/>
        <pc:sldMkLst>
          <pc:docMk/>
          <pc:sldMk cId="2406019992" sldId="640"/>
        </pc:sldMkLst>
      </pc:sldChg>
      <pc:sldChg chg="modSp add ord">
        <pc:chgData name="Alana Rivera" userId="S::arg3669@ads.northwestern.edu::fc8b707a-b7e9-4f2a-8d71-2d76819b7881" providerId="AD" clId="Web-{F000F8C3-643D-0601-D6B3-C6A0148E6D63}" dt="2023-01-03T19:18:32.444" v="108"/>
        <pc:sldMkLst>
          <pc:docMk/>
          <pc:sldMk cId="2335050651" sldId="641"/>
        </pc:sldMkLst>
        <pc:spChg chg="mod">
          <ac:chgData name="Alana Rivera" userId="S::arg3669@ads.northwestern.edu::fc8b707a-b7e9-4f2a-8d71-2d76819b7881" providerId="AD" clId="Web-{F000F8C3-643D-0601-D6B3-C6A0148E6D63}" dt="2023-01-03T19:18:32.444" v="108"/>
          <ac:spMkLst>
            <pc:docMk/>
            <pc:sldMk cId="2335050651" sldId="641"/>
            <ac:spMk id="2" creationId="{4454D9D2-FD51-4B03-BD7A-F1350B0E301B}"/>
          </ac:spMkLst>
        </pc:spChg>
        <pc:graphicFrameChg chg="mod modGraphic">
          <ac:chgData name="Alana Rivera" userId="S::arg3669@ads.northwestern.edu::fc8b707a-b7e9-4f2a-8d71-2d76819b7881" providerId="AD" clId="Web-{F000F8C3-643D-0601-D6B3-C6A0148E6D63}" dt="2023-01-03T19:18:21.006" v="107"/>
          <ac:graphicFrameMkLst>
            <pc:docMk/>
            <pc:sldMk cId="2335050651" sldId="641"/>
            <ac:graphicFrameMk id="6" creationId="{3AD91F6E-1CC9-664A-9C24-D391CEE7DC2B}"/>
          </ac:graphicFrameMkLst>
        </pc:graphicFrameChg>
      </pc:sldChg>
      <pc:sldChg chg="modSp add ord">
        <pc:chgData name="Alana Rivera" userId="S::arg3669@ads.northwestern.edu::fc8b707a-b7e9-4f2a-8d71-2d76819b7881" providerId="AD" clId="Web-{F000F8C3-643D-0601-D6B3-C6A0148E6D63}" dt="2023-01-03T19:20:06.494" v="115" actId="20577"/>
        <pc:sldMkLst>
          <pc:docMk/>
          <pc:sldMk cId="1698703941" sldId="642"/>
        </pc:sldMkLst>
        <pc:spChg chg="mod">
          <ac:chgData name="Alana Rivera" userId="S::arg3669@ads.northwestern.edu::fc8b707a-b7e9-4f2a-8d71-2d76819b7881" providerId="AD" clId="Web-{F000F8C3-643D-0601-D6B3-C6A0148E6D63}" dt="2023-01-03T19:20:06.494" v="115" actId="20577"/>
          <ac:spMkLst>
            <pc:docMk/>
            <pc:sldMk cId="1698703941" sldId="642"/>
            <ac:spMk id="2" creationId="{4454D9D2-FD51-4B03-BD7A-F1350B0E301B}"/>
          </ac:spMkLst>
        </pc:spChg>
      </pc:sldChg>
      <pc:sldChg chg="add">
        <pc:chgData name="Alana Rivera" userId="S::arg3669@ads.northwestern.edu::fc8b707a-b7e9-4f2a-8d71-2d76819b7881" providerId="AD" clId="Web-{F000F8C3-643D-0601-D6B3-C6A0148E6D63}" dt="2023-01-03T19:20:48.714" v="116"/>
        <pc:sldMkLst>
          <pc:docMk/>
          <pc:sldMk cId="3282531933" sldId="643"/>
        </pc:sldMkLst>
      </pc:sldChg>
      <pc:sldChg chg="add">
        <pc:chgData name="Alana Rivera" userId="S::arg3669@ads.northwestern.edu::fc8b707a-b7e9-4f2a-8d71-2d76819b7881" providerId="AD" clId="Web-{F000F8C3-643D-0601-D6B3-C6A0148E6D63}" dt="2023-01-03T19:20:48.839" v="117"/>
        <pc:sldMkLst>
          <pc:docMk/>
          <pc:sldMk cId="953105945" sldId="644"/>
        </pc:sldMkLst>
      </pc:sldChg>
      <pc:sldMasterChg chg="addSldLayout">
        <pc:chgData name="Alana Rivera" userId="S::arg3669@ads.northwestern.edu::fc8b707a-b7e9-4f2a-8d71-2d76819b7881" providerId="AD" clId="Web-{F000F8C3-643D-0601-D6B3-C6A0148E6D63}" dt="2023-01-03T18:58:08.460" v="26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998157548" sldId="2147483794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476272431" sldId="2147483798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069300124" sldId="2147483799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480140117" sldId="2147483800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855494103" sldId="2147483802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253572214" sldId="2147483804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705532739" sldId="2147483806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967421487" sldId="2147483808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983143663" sldId="2147483809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803572776" sldId="2147483810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339690513" sldId="2147483811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220637423" sldId="2147483812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09320368" sldId="2147483813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610496501" sldId="2147483814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783658486" sldId="2147488139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3630801759" sldId="2147488168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709868767" sldId="2147488169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980529727" sldId="2147488170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91337409" sldId="2147488171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075216660" sldId="2147488172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059781530" sldId="2147488173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939295337" sldId="2147488174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402549073" sldId="2147488175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410130633" sldId="2147488177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698059872" sldId="2147488178"/>
          </pc:sldLayoutMkLst>
        </pc:sldLayoutChg>
        <pc:sldLayoutChg chg="add">
          <pc:chgData name="Alana Rivera" userId="S::arg3669@ads.northwestern.edu::fc8b707a-b7e9-4f2a-8d71-2d76819b7881" providerId="AD" clId="Web-{F000F8C3-643D-0601-D6B3-C6A0148E6D63}" dt="2023-01-03T18:58:08.460" v="26"/>
          <pc:sldLayoutMkLst>
            <pc:docMk/>
            <pc:sldMasterMk cId="989504779" sldId="2147483734"/>
            <pc:sldLayoutMk cId="1758542806" sldId="2147488369"/>
          </pc:sldLayoutMkLst>
        </pc:sldLayoutChg>
      </pc:sldMasterChg>
    </pc:docChg>
  </pc:docChgLst>
  <pc:docChgLst>
    <pc:chgData name="Eileen Fleming Suse" userId="S::efs3844@ads.northwestern.edu::725c94ef-d051-42d7-9d33-8572765d592b" providerId="AD" clId="Web-{36255672-5135-A51A-B9AE-00101A5956EF}"/>
    <pc:docChg chg="modSld">
      <pc:chgData name="Eileen Fleming Suse" userId="S::efs3844@ads.northwestern.edu::725c94ef-d051-42d7-9d33-8572765d592b" providerId="AD" clId="Web-{36255672-5135-A51A-B9AE-00101A5956EF}" dt="2024-02-29T01:05:28.500" v="40"/>
      <pc:docMkLst>
        <pc:docMk/>
      </pc:docMkLst>
      <pc:sldChg chg="modSp">
        <pc:chgData name="Eileen Fleming Suse" userId="S::efs3844@ads.northwestern.edu::725c94ef-d051-42d7-9d33-8572765d592b" providerId="AD" clId="Web-{36255672-5135-A51A-B9AE-00101A5956EF}" dt="2024-02-29T01:05:28.500" v="40"/>
        <pc:sldMkLst>
          <pc:docMk/>
          <pc:sldMk cId="2422427631" sldId="755"/>
        </pc:sldMkLst>
        <pc:graphicFrameChg chg="mod modGraphic">
          <ac:chgData name="Eileen Fleming Suse" userId="S::efs3844@ads.northwestern.edu::725c94ef-d051-42d7-9d33-8572765d592b" providerId="AD" clId="Web-{36255672-5135-A51A-B9AE-00101A5956EF}" dt="2024-02-29T01:05:28.500" v="40"/>
          <ac:graphicFrameMkLst>
            <pc:docMk/>
            <pc:sldMk cId="2422427631" sldId="755"/>
            <ac:graphicFrameMk id="6" creationId="{3349F207-60F4-234D-4729-00A6824BBB25}"/>
          </ac:graphicFrameMkLst>
        </pc:graphicFrameChg>
      </pc:sldChg>
    </pc:docChg>
  </pc:docChgLst>
  <pc:docChgLst>
    <pc:chgData name="Eileen Fleming Suse" userId="S::efs3844@ads.northwestern.edu::725c94ef-d051-42d7-9d33-8572765d592b" providerId="AD" clId="Web-{14DE86C4-9039-3413-D28B-AEFF89318252}"/>
    <pc:docChg chg="modSld">
      <pc:chgData name="Eileen Fleming Suse" userId="S::efs3844@ads.northwestern.edu::725c94ef-d051-42d7-9d33-8572765d592b" providerId="AD" clId="Web-{14DE86C4-9039-3413-D28B-AEFF89318252}" dt="2024-02-29T01:03:09.281" v="148"/>
      <pc:docMkLst>
        <pc:docMk/>
      </pc:docMkLst>
      <pc:sldChg chg="modSp modCm">
        <pc:chgData name="Eileen Fleming Suse" userId="S::efs3844@ads.northwestern.edu::725c94ef-d051-42d7-9d33-8572765d592b" providerId="AD" clId="Web-{14DE86C4-9039-3413-D28B-AEFF89318252}" dt="2024-02-29T01:03:09.281" v="148"/>
        <pc:sldMkLst>
          <pc:docMk/>
          <pc:sldMk cId="1112372070" sldId="824"/>
        </pc:sldMkLst>
        <pc:spChg chg="mod">
          <ac:chgData name="Eileen Fleming Suse" userId="S::efs3844@ads.northwestern.edu::725c94ef-d051-42d7-9d33-8572765d592b" providerId="AD" clId="Web-{14DE86C4-9039-3413-D28B-AEFF89318252}" dt="2024-02-29T01:03:00.937" v="147"/>
          <ac:spMkLst>
            <pc:docMk/>
            <pc:sldMk cId="1112372070" sldId="824"/>
            <ac:spMk id="2" creationId="{3FB4878F-0400-AE7C-3EEE-62994307E9E4}"/>
          </ac:spMkLst>
        </pc:spChg>
        <pc:graphicFrameChg chg="mod modGraphic">
          <ac:chgData name="Eileen Fleming Suse" userId="S::efs3844@ads.northwestern.edu::725c94ef-d051-42d7-9d33-8572765d592b" providerId="AD" clId="Web-{14DE86C4-9039-3413-D28B-AEFF89318252}" dt="2024-02-29T01:02:59.390" v="146"/>
          <ac:graphicFrameMkLst>
            <pc:docMk/>
            <pc:sldMk cId="1112372070" sldId="824"/>
            <ac:graphicFrameMk id="6" creationId="{CA77166E-2DEA-18B6-9D40-352B79C31291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ileen Fleming Suse" userId="S::efs3844@ads.northwestern.edu::725c94ef-d051-42d7-9d33-8572765d592b" providerId="AD" clId="Web-{14DE86C4-9039-3413-D28B-AEFF89318252}" dt="2024-02-29T01:03:09.281" v="148"/>
              <pc2:cmMkLst xmlns:pc2="http://schemas.microsoft.com/office/powerpoint/2019/9/main/command">
                <pc:docMk/>
                <pc:sldMk cId="1112372070" sldId="824"/>
                <pc2:cmMk id="{D422CD30-1246-401D-9F07-611C89168E5D}"/>
              </pc2:cmMkLst>
            </pc226:cmChg>
          </p:ext>
        </pc:extLst>
      </pc:sldChg>
    </pc:docChg>
  </pc:docChgLst>
  <pc:docChgLst>
    <pc:chgData name="Aleena Lida Surenian" userId="S::als0813@ads.northwestern.edu::e2fd0e4e-6417-49b0-ab16-0ba26a1719f0" providerId="AD" clId="Web-{824130CE-341D-D966-7F07-A25EE3180B52}"/>
    <pc:docChg chg="modSld sldOrd">
      <pc:chgData name="Aleena Lida Surenian" userId="S::als0813@ads.northwestern.edu::e2fd0e4e-6417-49b0-ab16-0ba26a1719f0" providerId="AD" clId="Web-{824130CE-341D-D966-7F07-A25EE3180B52}" dt="2023-03-02T22:49:15.700" v="464"/>
      <pc:docMkLst>
        <pc:docMk/>
      </pc:docMkLst>
      <pc:sldChg chg="addSp modSp mod ord setBg">
        <pc:chgData name="Aleena Lida Surenian" userId="S::als0813@ads.northwestern.edu::e2fd0e4e-6417-49b0-ab16-0ba26a1719f0" providerId="AD" clId="Web-{824130CE-341D-D966-7F07-A25EE3180B52}" dt="2023-03-02T22:49:15.700" v="464"/>
        <pc:sldMkLst>
          <pc:docMk/>
          <pc:sldMk cId="2190146337" sldId="730"/>
        </pc:sldMkLst>
        <pc:spChg chg="mo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2" creationId="{BBCB6785-E0B9-83D8-83A3-ACC137333A7D}"/>
          </ac:spMkLst>
        </pc:spChg>
        <pc:spChg chg="mod">
          <ac:chgData name="Aleena Lida Surenian" userId="S::als0813@ads.northwestern.edu::e2fd0e4e-6417-49b0-ab16-0ba26a1719f0" providerId="AD" clId="Web-{824130CE-341D-D966-7F07-A25EE3180B52}" dt="2023-03-02T22:48:49.121" v="462" actId="20577"/>
          <ac:spMkLst>
            <pc:docMk/>
            <pc:sldMk cId="2190146337" sldId="730"/>
            <ac:spMk id="3" creationId="{C9753DA4-0216-47C5-D694-2A19B72AEE39}"/>
          </ac:spMkLst>
        </pc:spChg>
        <pc:spChg chg="mod or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4" creationId="{DE34D822-E275-210A-119B-68BBE21654C7}"/>
          </ac:spMkLst>
        </pc:spChg>
        <pc:spChg chg="mo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5" creationId="{BD12B269-CB83-A488-6032-489D5D9CDDEC}"/>
          </ac:spMkLst>
        </pc:spChg>
        <pc:spChg chg="ad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10" creationId="{907EF6B7-1338-4443-8C46-6A318D952DFD}"/>
          </ac:spMkLst>
        </pc:spChg>
        <pc:spChg chg="ad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12" creationId="{DAAE4CDD-124C-4DCF-9584-B6033B545DD5}"/>
          </ac:spMkLst>
        </pc:spChg>
        <pc:spChg chg="add">
          <ac:chgData name="Aleena Lida Surenian" userId="S::als0813@ads.northwestern.edu::e2fd0e4e-6417-49b0-ab16-0ba26a1719f0" providerId="AD" clId="Web-{824130CE-341D-D966-7F07-A25EE3180B52}" dt="2023-03-02T22:48:26.651" v="459"/>
          <ac:spMkLst>
            <pc:docMk/>
            <pc:sldMk cId="2190146337" sldId="730"/>
            <ac:spMk id="14" creationId="{081E4A58-353D-44AE-B2FC-2A74E2E400F7}"/>
          </ac:spMkLst>
        </pc:spChg>
      </pc:sldChg>
      <pc:sldChg chg="modSp">
        <pc:chgData name="Aleena Lida Surenian" userId="S::als0813@ads.northwestern.edu::e2fd0e4e-6417-49b0-ab16-0ba26a1719f0" providerId="AD" clId="Web-{824130CE-341D-D966-7F07-A25EE3180B52}" dt="2023-03-02T20:44:25.001" v="0" actId="20577"/>
        <pc:sldMkLst>
          <pc:docMk/>
          <pc:sldMk cId="1910128735" sldId="734"/>
        </pc:sldMkLst>
        <pc:spChg chg="mod">
          <ac:chgData name="Aleena Lida Surenian" userId="S::als0813@ads.northwestern.edu::e2fd0e4e-6417-49b0-ab16-0ba26a1719f0" providerId="AD" clId="Web-{824130CE-341D-D966-7F07-A25EE3180B52}" dt="2023-03-02T20:44:25.001" v="0" actId="20577"/>
          <ac:spMkLst>
            <pc:docMk/>
            <pc:sldMk cId="1910128735" sldId="734"/>
            <ac:spMk id="3" creationId="{A7B6E2D0-1D97-60D1-5FEF-B69401319127}"/>
          </ac:spMkLst>
        </pc:spChg>
      </pc:sldChg>
    </pc:docChg>
  </pc:docChgLst>
  <pc:docChgLst>
    <pc:chgData name="Alana Rivera" userId="S::arg3669@ads.northwestern.edu::fc8b707a-b7e9-4f2a-8d71-2d76819b7881" providerId="AD" clId="Web-{22443444-D099-207D-C1AD-68E23FBDE08F}"/>
    <pc:docChg chg="addSld delSld modSld sldOrd">
      <pc:chgData name="Alana Rivera" userId="S::arg3669@ads.northwestern.edu::fc8b707a-b7e9-4f2a-8d71-2d76819b7881" providerId="AD" clId="Web-{22443444-D099-207D-C1AD-68E23FBDE08F}" dt="2024-01-10T16:46:12.380" v="23"/>
      <pc:docMkLst>
        <pc:docMk/>
      </pc:docMkLst>
      <pc:sldChg chg="modSp">
        <pc:chgData name="Alana Rivera" userId="S::arg3669@ads.northwestern.edu::fc8b707a-b7e9-4f2a-8d71-2d76819b7881" providerId="AD" clId="Web-{22443444-D099-207D-C1AD-68E23FBDE08F}" dt="2024-01-10T15:52:33.868" v="8" actId="20577"/>
        <pc:sldMkLst>
          <pc:docMk/>
          <pc:sldMk cId="780674383" sldId="637"/>
        </pc:sldMkLst>
        <pc:spChg chg="mod">
          <ac:chgData name="Alana Rivera" userId="S::arg3669@ads.northwestern.edu::fc8b707a-b7e9-4f2a-8d71-2d76819b7881" providerId="AD" clId="Web-{22443444-D099-207D-C1AD-68E23FBDE08F}" dt="2024-01-10T15:52:33.868" v="8" actId="20577"/>
          <ac:spMkLst>
            <pc:docMk/>
            <pc:sldMk cId="780674383" sldId="637"/>
            <ac:spMk id="2" creationId="{424A33D8-B029-E4EC-68E1-E47AD936A499}"/>
          </ac:spMkLst>
        </pc:spChg>
      </pc:sldChg>
      <pc:sldChg chg="modSp">
        <pc:chgData name="Alana Rivera" userId="S::arg3669@ads.northwestern.edu::fc8b707a-b7e9-4f2a-8d71-2d76819b7881" providerId="AD" clId="Web-{22443444-D099-207D-C1AD-68E23FBDE08F}" dt="2024-01-10T15:52:26.899" v="7" actId="1076"/>
        <pc:sldMkLst>
          <pc:docMk/>
          <pc:sldMk cId="4179369718" sldId="769"/>
        </pc:sldMkLst>
        <pc:picChg chg="mod">
          <ac:chgData name="Alana Rivera" userId="S::arg3669@ads.northwestern.edu::fc8b707a-b7e9-4f2a-8d71-2d76819b7881" providerId="AD" clId="Web-{22443444-D099-207D-C1AD-68E23FBDE08F}" dt="2024-01-10T15:52:26.899" v="7" actId="1076"/>
          <ac:picMkLst>
            <pc:docMk/>
            <pc:sldMk cId="4179369718" sldId="769"/>
            <ac:picMk id="7" creationId="{00000000-0000-0000-0000-000000000000}"/>
          </ac:picMkLst>
        </pc:picChg>
      </pc:sldChg>
      <pc:sldChg chg="del">
        <pc:chgData name="Alana Rivera" userId="S::arg3669@ads.northwestern.edu::fc8b707a-b7e9-4f2a-8d71-2d76819b7881" providerId="AD" clId="Web-{22443444-D099-207D-C1AD-68E23FBDE08F}" dt="2024-01-10T15:52:19.664" v="6"/>
        <pc:sldMkLst>
          <pc:docMk/>
          <pc:sldMk cId="1219261171" sldId="777"/>
        </pc:sldMkLst>
      </pc:sldChg>
      <pc:sldChg chg="del">
        <pc:chgData name="Alana Rivera" userId="S::arg3669@ads.northwestern.edu::fc8b707a-b7e9-4f2a-8d71-2d76819b7881" providerId="AD" clId="Web-{22443444-D099-207D-C1AD-68E23FBDE08F}" dt="2024-01-10T15:52:07.257" v="4"/>
        <pc:sldMkLst>
          <pc:docMk/>
          <pc:sldMk cId="2387886441" sldId="778"/>
        </pc:sldMkLst>
      </pc:sldChg>
      <pc:sldChg chg="del">
        <pc:chgData name="Alana Rivera" userId="S::arg3669@ads.northwestern.edu::fc8b707a-b7e9-4f2a-8d71-2d76819b7881" providerId="AD" clId="Web-{22443444-D099-207D-C1AD-68E23FBDE08F}" dt="2024-01-10T15:52:07.913" v="5"/>
        <pc:sldMkLst>
          <pc:docMk/>
          <pc:sldMk cId="3128038281" sldId="779"/>
        </pc:sldMkLst>
      </pc:sldChg>
      <pc:sldChg chg="del">
        <pc:chgData name="Alana Rivera" userId="S::arg3669@ads.northwestern.edu::fc8b707a-b7e9-4f2a-8d71-2d76819b7881" providerId="AD" clId="Web-{22443444-D099-207D-C1AD-68E23FBDE08F}" dt="2024-01-10T15:52:03.866" v="3"/>
        <pc:sldMkLst>
          <pc:docMk/>
          <pc:sldMk cId="2404201166" sldId="780"/>
        </pc:sldMkLst>
      </pc:sldChg>
      <pc:sldChg chg="del">
        <pc:chgData name="Alana Rivera" userId="S::arg3669@ads.northwestern.edu::fc8b707a-b7e9-4f2a-8d71-2d76819b7881" providerId="AD" clId="Web-{22443444-D099-207D-C1AD-68E23FBDE08F}" dt="2024-01-10T15:51:56.866" v="2"/>
        <pc:sldMkLst>
          <pc:docMk/>
          <pc:sldMk cId="768417776" sldId="781"/>
        </pc:sldMkLst>
      </pc:sldChg>
      <pc:sldChg chg="del">
        <pc:chgData name="Alana Rivera" userId="S::arg3669@ads.northwestern.edu::fc8b707a-b7e9-4f2a-8d71-2d76819b7881" providerId="AD" clId="Web-{22443444-D099-207D-C1AD-68E23FBDE08F}" dt="2024-01-10T15:51:55.491" v="1"/>
        <pc:sldMkLst>
          <pc:docMk/>
          <pc:sldMk cId="3734042619" sldId="782"/>
        </pc:sldMkLst>
      </pc:sldChg>
      <pc:sldChg chg="ord">
        <pc:chgData name="Alana Rivera" userId="S::arg3669@ads.northwestern.edu::fc8b707a-b7e9-4f2a-8d71-2d76819b7881" providerId="AD" clId="Web-{22443444-D099-207D-C1AD-68E23FBDE08F}" dt="2024-01-10T15:51:24.959" v="0"/>
        <pc:sldMkLst>
          <pc:docMk/>
          <pc:sldMk cId="3859034132" sldId="783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4.114" v="9"/>
        <pc:sldMkLst>
          <pc:docMk/>
          <pc:sldMk cId="3573947264" sldId="785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4.802" v="10"/>
        <pc:sldMkLst>
          <pc:docMk/>
          <pc:sldMk cId="3850125703" sldId="786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5.255" v="11"/>
        <pc:sldMkLst>
          <pc:docMk/>
          <pc:sldMk cId="1036043289" sldId="787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5.911" v="12"/>
        <pc:sldMkLst>
          <pc:docMk/>
          <pc:sldMk cId="773696652" sldId="788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6.302" v="13"/>
        <pc:sldMkLst>
          <pc:docMk/>
          <pc:sldMk cId="1522616096" sldId="789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6.849" v="14"/>
        <pc:sldMkLst>
          <pc:docMk/>
          <pc:sldMk cId="714682852" sldId="790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7.661" v="15"/>
        <pc:sldMkLst>
          <pc:docMk/>
          <pc:sldMk cId="1514756035" sldId="791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7.943" v="16"/>
        <pc:sldMkLst>
          <pc:docMk/>
          <pc:sldMk cId="3726638559" sldId="792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08.661" v="17"/>
        <pc:sldMkLst>
          <pc:docMk/>
          <pc:sldMk cId="3635595752" sldId="793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0.490" v="18"/>
        <pc:sldMkLst>
          <pc:docMk/>
          <pc:sldMk cId="3550543422" sldId="794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0.786" v="19"/>
        <pc:sldMkLst>
          <pc:docMk/>
          <pc:sldMk cId="790635443" sldId="795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1.130" v="20"/>
        <pc:sldMkLst>
          <pc:docMk/>
          <pc:sldMk cId="1758158855" sldId="796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1.568" v="21"/>
        <pc:sldMkLst>
          <pc:docMk/>
          <pc:sldMk cId="4023770579" sldId="797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1.990" v="22"/>
        <pc:sldMkLst>
          <pc:docMk/>
          <pc:sldMk cId="3572565421" sldId="798"/>
        </pc:sldMkLst>
      </pc:sldChg>
      <pc:sldChg chg="add">
        <pc:chgData name="Alana Rivera" userId="S::arg3669@ads.northwestern.edu::fc8b707a-b7e9-4f2a-8d71-2d76819b7881" providerId="AD" clId="Web-{22443444-D099-207D-C1AD-68E23FBDE08F}" dt="2024-01-10T16:46:12.380" v="23"/>
        <pc:sldMkLst>
          <pc:docMk/>
          <pc:sldMk cId="2372968021" sldId="799"/>
        </pc:sldMkLst>
      </pc:sldChg>
      <pc:sldMasterChg chg="addSldLayout">
        <pc:chgData name="Alana Rivera" userId="S::arg3669@ads.northwestern.edu::fc8b707a-b7e9-4f2a-8d71-2d76819b7881" providerId="AD" clId="Web-{22443444-D099-207D-C1AD-68E23FBDE08F}" dt="2024-01-10T16:46:07.943" v="16"/>
        <pc:sldMasterMkLst>
          <pc:docMk/>
          <pc:sldMasterMk cId="3522102921" sldId="2147488151"/>
        </pc:sldMasterMkLst>
        <pc:sldLayoutChg chg="add">
          <pc:chgData name="Alana Rivera" userId="S::arg3669@ads.northwestern.edu::fc8b707a-b7e9-4f2a-8d71-2d76819b7881" providerId="AD" clId="Web-{22443444-D099-207D-C1AD-68E23FBDE08F}" dt="2024-01-10T16:46:07.943" v="16"/>
          <pc:sldLayoutMkLst>
            <pc:docMk/>
            <pc:sldMasterMk cId="3522102921" sldId="2147488151"/>
            <pc:sldLayoutMk cId="2872652782" sldId="2147484334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5C87BEDB-B923-4FC0-632C-FB93FF0E56E0}"/>
    <pc:docChg chg="">
      <pc:chgData name="Aleena Lida Surenian" userId="S::als0813@ads.northwestern.edu::e2fd0e4e-6417-49b0-ab16-0ba26a1719f0" providerId="AD" clId="Web-{5C87BEDB-B923-4FC0-632C-FB93FF0E56E0}" dt="2023-02-09T17:49:17.642" v="0"/>
      <pc:docMkLst>
        <pc:docMk/>
      </pc:docMkLst>
      <pc:sldChg chg="modCm">
        <pc:chgData name="Aleena Lida Surenian" userId="S::als0813@ads.northwestern.edu::e2fd0e4e-6417-49b0-ab16-0ba26a1719f0" providerId="AD" clId="Web-{5C87BEDB-B923-4FC0-632C-FB93FF0E56E0}" dt="2023-02-09T17:49:17.642" v="0"/>
        <pc:sldMkLst>
          <pc:docMk/>
          <pc:sldMk cId="872415970" sldId="69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5C87BEDB-B923-4FC0-632C-FB93FF0E56E0}" dt="2023-02-09T17:49:17.642" v="0"/>
              <pc2:cmMkLst xmlns:pc2="http://schemas.microsoft.com/office/powerpoint/2019/9/main/command">
                <pc:docMk/>
                <pc:sldMk cId="872415970" sldId="697"/>
                <pc2:cmMk id="{A91608B9-6606-4ED6-B04E-01B758539162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7362637A-F5CA-69E7-8D13-CFCA1DCBEFF6}"/>
    <pc:docChg chg="modSld">
      <pc:chgData name="Alana Rivera" userId="S::arg3669@ads.northwestern.edu::fc8b707a-b7e9-4f2a-8d71-2d76819b7881" providerId="AD" clId="Web-{7362637A-F5CA-69E7-8D13-CFCA1DCBEFF6}" dt="2023-12-28T15:54:45.863" v="0" actId="20577"/>
      <pc:docMkLst>
        <pc:docMk/>
      </pc:docMkLst>
      <pc:sldChg chg="modSp">
        <pc:chgData name="Alana Rivera" userId="S::arg3669@ads.northwestern.edu::fc8b707a-b7e9-4f2a-8d71-2d76819b7881" providerId="AD" clId="Web-{7362637A-F5CA-69E7-8D13-CFCA1DCBEFF6}" dt="2023-12-28T15:54:45.863" v="0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7362637A-F5CA-69E7-8D13-CFCA1DCBEFF6}" dt="2023-12-28T15:54:45.863" v="0" actId="20577"/>
          <ac:spMkLst>
            <pc:docMk/>
            <pc:sldMk cId="196190430" sldId="645"/>
            <ac:spMk id="3" creationId="{1D742501-F937-8041-84E5-748F96AE991B}"/>
          </ac:spMkLst>
        </pc:spChg>
      </pc:sldChg>
    </pc:docChg>
  </pc:docChgLst>
  <pc:docChgLst>
    <pc:chgData name="Alana Rivera" userId="S::arg3669@ads.northwestern.edu::fc8b707a-b7e9-4f2a-8d71-2d76819b7881" providerId="AD" clId="Web-{88D43232-2A0A-0BC2-FE24-ABD09D639255}"/>
    <pc:docChg chg="">
      <pc:chgData name="Alana Rivera" userId="S::arg3669@ads.northwestern.edu::fc8b707a-b7e9-4f2a-8d71-2d76819b7881" providerId="AD" clId="Web-{88D43232-2A0A-0BC2-FE24-ABD09D639255}" dt="2023-01-23T21:40:28.326" v="0"/>
      <pc:docMkLst>
        <pc:docMk/>
      </pc:docMkLst>
      <pc:sldChg chg="delCm">
        <pc:chgData name="Alana Rivera" userId="S::arg3669@ads.northwestern.edu::fc8b707a-b7e9-4f2a-8d71-2d76819b7881" providerId="AD" clId="Web-{88D43232-2A0A-0BC2-FE24-ABD09D639255}" dt="2023-01-23T21:40:28.326" v="0"/>
        <pc:sldMkLst>
          <pc:docMk/>
          <pc:sldMk cId="2880533216" sldId="65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88D43232-2A0A-0BC2-FE24-ABD09D639255}" dt="2023-01-23T21:40:28.326" v="0"/>
              <pc2:cmMkLst xmlns:pc2="http://schemas.microsoft.com/office/powerpoint/2019/9/main/command">
                <pc:docMk/>
                <pc:sldMk cId="2880533216" sldId="654"/>
                <pc2:cmMk id="{7CE96F17-E937-407E-8BED-00EC3F41D923}"/>
              </pc2:cmMkLst>
            </pc226:cmChg>
          </p:ext>
        </pc:extLst>
      </pc:sldChg>
    </pc:docChg>
  </pc:docChgLst>
  <pc:docChgLst>
    <pc:chgData name="Daniel L Weiss" userId="S::dlw2885@ads.northwestern.edu::9eb720c2-52d8-4896-8792-48826e9f92f5" providerId="AD" clId="Web-{D7B60348-87B0-2785-EEFA-372ABED52897}"/>
    <pc:docChg chg="modSld">
      <pc:chgData name="Daniel L Weiss" userId="S::dlw2885@ads.northwestern.edu::9eb720c2-52d8-4896-8792-48826e9f92f5" providerId="AD" clId="Web-{D7B60348-87B0-2785-EEFA-372ABED52897}" dt="2023-03-02T19:18:43.461" v="86" actId="20577"/>
      <pc:docMkLst>
        <pc:docMk/>
      </pc:docMkLst>
      <pc:sldChg chg="addSp delSp modSp">
        <pc:chgData name="Daniel L Weiss" userId="S::dlw2885@ads.northwestern.edu::9eb720c2-52d8-4896-8792-48826e9f92f5" providerId="AD" clId="Web-{D7B60348-87B0-2785-EEFA-372ABED52897}" dt="2023-03-02T19:15:32.034" v="82" actId="1076"/>
        <pc:sldMkLst>
          <pc:docMk/>
          <pc:sldMk cId="1127716331" sldId="712"/>
        </pc:sldMkLst>
        <pc:spChg chg="mod">
          <ac:chgData name="Daniel L Weiss" userId="S::dlw2885@ads.northwestern.edu::9eb720c2-52d8-4896-8792-48826e9f92f5" providerId="AD" clId="Web-{D7B60348-87B0-2785-EEFA-372ABED52897}" dt="2023-03-02T19:15:28.081" v="80"/>
          <ac:spMkLst>
            <pc:docMk/>
            <pc:sldMk cId="1127716331" sldId="712"/>
            <ac:spMk id="2" creationId="{00000000-0000-0000-0000-000000000000}"/>
          </ac:spMkLst>
        </pc:spChg>
        <pc:spChg chg="add del mod">
          <ac:chgData name="Daniel L Weiss" userId="S::dlw2885@ads.northwestern.edu::9eb720c2-52d8-4896-8792-48826e9f92f5" providerId="AD" clId="Web-{D7B60348-87B0-2785-EEFA-372ABED52897}" dt="2023-03-02T19:15:20.097" v="76"/>
          <ac:spMkLst>
            <pc:docMk/>
            <pc:sldMk cId="1127716331" sldId="712"/>
            <ac:spMk id="6" creationId="{24E5B241-AF8B-1046-AE0D-3398AAA0C7FA}"/>
          </ac:spMkLst>
        </pc:spChg>
        <pc:picChg chg="add mod ord">
          <ac:chgData name="Daniel L Weiss" userId="S::dlw2885@ads.northwestern.edu::9eb720c2-52d8-4896-8792-48826e9f92f5" providerId="AD" clId="Web-{D7B60348-87B0-2785-EEFA-372ABED52897}" dt="2023-03-02T19:15:32.034" v="82" actId="1076"/>
          <ac:picMkLst>
            <pc:docMk/>
            <pc:sldMk cId="1127716331" sldId="712"/>
            <ac:picMk id="7" creationId="{2EA30075-0FD0-2EE4-94AE-DDF8C9483AC7}"/>
          </ac:picMkLst>
        </pc:picChg>
        <pc:picChg chg="del">
          <ac:chgData name="Daniel L Weiss" userId="S::dlw2885@ads.northwestern.edu::9eb720c2-52d8-4896-8792-48826e9f92f5" providerId="AD" clId="Web-{D7B60348-87B0-2785-EEFA-372ABED52897}" dt="2023-03-02T19:14:11.017" v="75"/>
          <ac:picMkLst>
            <pc:docMk/>
            <pc:sldMk cId="1127716331" sldId="712"/>
            <ac:picMk id="8" creationId="{523EAC3E-6062-B7BF-72F7-655002DE0962}"/>
          </ac:picMkLst>
        </pc:picChg>
      </pc:sldChg>
      <pc:sldChg chg="modSp modCm">
        <pc:chgData name="Daniel L Weiss" userId="S::dlw2885@ads.northwestern.edu::9eb720c2-52d8-4896-8792-48826e9f92f5" providerId="AD" clId="Web-{D7B60348-87B0-2785-EEFA-372ABED52897}" dt="2023-03-02T19:18:43.461" v="86" actId="20577"/>
        <pc:sldMkLst>
          <pc:docMk/>
          <pc:sldMk cId="1886867389" sldId="713"/>
        </pc:sldMkLst>
        <pc:spChg chg="mod">
          <ac:chgData name="Daniel L Weiss" userId="S::dlw2885@ads.northwestern.edu::9eb720c2-52d8-4896-8792-48826e9f92f5" providerId="AD" clId="Web-{D7B60348-87B0-2785-EEFA-372ABED52897}" dt="2023-03-02T19:12:02.810" v="71"/>
          <ac:spMkLst>
            <pc:docMk/>
            <pc:sldMk cId="1886867389" sldId="713"/>
            <ac:spMk id="2" creationId="{7719FD7A-7B92-EC42-6554-FA310B6714B1}"/>
          </ac:spMkLst>
        </pc:spChg>
        <pc:spChg chg="mod">
          <ac:chgData name="Daniel L Weiss" userId="S::dlw2885@ads.northwestern.edu::9eb720c2-52d8-4896-8792-48826e9f92f5" providerId="AD" clId="Web-{D7B60348-87B0-2785-EEFA-372ABED52897}" dt="2023-03-02T19:18:43.461" v="86" actId="20577"/>
          <ac:spMkLst>
            <pc:docMk/>
            <pc:sldMk cId="1886867389" sldId="713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Daniel L Weiss" userId="S::dlw2885@ads.northwestern.edu::9eb720c2-52d8-4896-8792-48826e9f92f5" providerId="AD" clId="Web-{D7B60348-87B0-2785-EEFA-372ABED52897}" dt="2023-03-02T19:08:43.758" v="59"/>
              <pc2:cmMkLst xmlns:pc2="http://schemas.microsoft.com/office/powerpoint/2019/9/main/command">
                <pc:docMk/>
                <pc:sldMk cId="1886867389" sldId="713"/>
                <pc2:cmMk id="{F4ED38CF-BD11-422D-9060-16A2A0BD2F5B}"/>
              </pc2:cmMkLst>
            </pc226:cmChg>
          </p:ext>
        </pc:extLst>
      </pc:sldChg>
      <pc:sldChg chg="addSp delSp modSp">
        <pc:chgData name="Daniel L Weiss" userId="S::dlw2885@ads.northwestern.edu::9eb720c2-52d8-4896-8792-48826e9f92f5" providerId="AD" clId="Web-{D7B60348-87B0-2785-EEFA-372ABED52897}" dt="2023-03-02T19:07:44.444" v="58"/>
        <pc:sldMkLst>
          <pc:docMk/>
          <pc:sldMk cId="1062421072" sldId="733"/>
        </pc:sldMkLst>
        <pc:spChg chg="add del mod">
          <ac:chgData name="Daniel L Weiss" userId="S::dlw2885@ads.northwestern.edu::9eb720c2-52d8-4896-8792-48826e9f92f5" providerId="AD" clId="Web-{D7B60348-87B0-2785-EEFA-372ABED52897}" dt="2023-03-02T19:07:26.428" v="54"/>
          <ac:spMkLst>
            <pc:docMk/>
            <pc:sldMk cId="1062421072" sldId="733"/>
            <ac:spMk id="9" creationId="{0AA7C544-7F2E-1489-CB1B-F1B0A58366E6}"/>
          </ac:spMkLst>
        </pc:spChg>
        <pc:picChg chg="add del mod">
          <ac:chgData name="Daniel L Weiss" userId="S::dlw2885@ads.northwestern.edu::9eb720c2-52d8-4896-8792-48826e9f92f5" providerId="AD" clId="Web-{D7B60348-87B0-2785-EEFA-372ABED52897}" dt="2023-03-02T19:07:44.444" v="58"/>
          <ac:picMkLst>
            <pc:docMk/>
            <pc:sldMk cId="1062421072" sldId="733"/>
            <ac:picMk id="10" creationId="{A816DD26-59F4-0A8C-ABCB-C577C2A1E7F2}"/>
          </ac:picMkLst>
        </pc:picChg>
      </pc:sldChg>
    </pc:docChg>
  </pc:docChgLst>
  <pc:docChgLst>
    <pc:chgData name="Alana Rivera" userId="S::arg3669@ads.northwestern.edu::fc8b707a-b7e9-4f2a-8d71-2d76819b7881" providerId="AD" clId="Web-{E6EF3998-92AD-6072-4EFD-17D05F98A206}"/>
    <pc:docChg chg="modSld">
      <pc:chgData name="Alana Rivera" userId="S::arg3669@ads.northwestern.edu::fc8b707a-b7e9-4f2a-8d71-2d76819b7881" providerId="AD" clId="Web-{E6EF3998-92AD-6072-4EFD-17D05F98A206}" dt="2024-01-16T01:25:23.714" v="19"/>
      <pc:docMkLst>
        <pc:docMk/>
      </pc:docMkLst>
      <pc:sldChg chg="delCm">
        <pc:chgData name="Alana Rivera" userId="S::arg3669@ads.northwestern.edu::fc8b707a-b7e9-4f2a-8d71-2d76819b7881" providerId="AD" clId="Web-{E6EF3998-92AD-6072-4EFD-17D05F98A206}" dt="2024-01-16T01:24:53.697" v="17"/>
        <pc:sldMkLst>
          <pc:docMk/>
          <pc:sldMk cId="2272606415" sldId="50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E6EF3998-92AD-6072-4EFD-17D05F98A206}" dt="2024-01-16T01:24:53.697" v="17"/>
              <pc2:cmMkLst xmlns:pc2="http://schemas.microsoft.com/office/powerpoint/2019/9/main/command">
                <pc:docMk/>
                <pc:sldMk cId="2272606415" sldId="503"/>
                <pc2:cmMk id="{CAB8CEC4-B397-42D0-9CB3-63603BD64717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E6EF3998-92AD-6072-4EFD-17D05F98A206}" dt="2024-01-16T01:23:02.881" v="10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E6EF3998-92AD-6072-4EFD-17D05F98A206}" dt="2024-01-16T01:23:02.881" v="10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modSp addCm delCm">
        <pc:chgData name="Alana Rivera" userId="S::arg3669@ads.northwestern.edu::fc8b707a-b7e9-4f2a-8d71-2d76819b7881" providerId="AD" clId="Web-{E6EF3998-92AD-6072-4EFD-17D05F98A206}" dt="2024-01-16T01:24:28.665" v="15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E6EF3998-92AD-6072-4EFD-17D05F98A206}" dt="2024-01-16T01:24:11.415" v="13"/>
          <ac:spMkLst>
            <pc:docMk/>
            <pc:sldMk cId="3682438970" sldId="698"/>
            <ac:spMk id="2" creationId="{7719FD7A-7B92-EC42-6554-FA310B6714B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E6EF3998-92AD-6072-4EFD-17D05F98A206}" dt="2024-01-16T01:24:28.665" v="15"/>
              <pc2:cmMkLst xmlns:pc2="http://schemas.microsoft.com/office/powerpoint/2019/9/main/command">
                <pc:docMk/>
                <pc:sldMk cId="3682438970" sldId="698"/>
                <pc2:cmMk id="{A3D6960A-6228-4478-BCE3-BE945B149D37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E6EF3998-92AD-6072-4EFD-17D05F98A206}" dt="2024-01-16T01:24:15.290" v="14"/>
              <pc2:cmMkLst xmlns:pc2="http://schemas.microsoft.com/office/powerpoint/2019/9/main/command">
                <pc:docMk/>
                <pc:sldMk cId="3682438970" sldId="698"/>
                <pc2:cmMk id="{B3138629-38E0-4816-9727-2850E66E2C98}"/>
              </pc2:cmMkLst>
            </pc226:cmChg>
          </p:ext>
        </pc:extLst>
      </pc:sldChg>
      <pc:sldChg chg="delCm">
        <pc:chgData name="Alana Rivera" userId="S::arg3669@ads.northwestern.edu::fc8b707a-b7e9-4f2a-8d71-2d76819b7881" providerId="AD" clId="Web-{E6EF3998-92AD-6072-4EFD-17D05F98A206}" dt="2024-01-16T01:24:46.557" v="16"/>
        <pc:sldMkLst>
          <pc:docMk/>
          <pc:sldMk cId="1642747970" sldId="76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E6EF3998-92AD-6072-4EFD-17D05F98A206}" dt="2024-01-16T01:24:46.557" v="16"/>
              <pc2:cmMkLst xmlns:pc2="http://schemas.microsoft.com/office/powerpoint/2019/9/main/command">
                <pc:docMk/>
                <pc:sldMk cId="1642747970" sldId="767"/>
                <pc2:cmMk id="{A4AE509D-E9E8-4784-AAAD-7877463E09E9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E6EF3998-92AD-6072-4EFD-17D05F98A206}" dt="2024-01-16T01:24:02.211" v="12"/>
        <pc:sldMkLst>
          <pc:docMk/>
          <pc:sldMk cId="1982435436" sldId="784"/>
        </pc:sldMkLst>
        <pc:spChg chg="mod">
          <ac:chgData name="Alana Rivera" userId="S::arg3669@ads.northwestern.edu::fc8b707a-b7e9-4f2a-8d71-2d76819b7881" providerId="AD" clId="Web-{E6EF3998-92AD-6072-4EFD-17D05F98A206}" dt="2024-01-16T01:23:23.069" v="11"/>
          <ac:spMkLst>
            <pc:docMk/>
            <pc:sldMk cId="1982435436" sldId="784"/>
            <ac:spMk id="2" creationId="{648FBB25-E6AC-43E0-018E-68B40B74197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E6EF3998-92AD-6072-4EFD-17D05F98A206}" dt="2024-01-16T01:24:02.211" v="12"/>
              <pc2:cmMkLst xmlns:pc2="http://schemas.microsoft.com/office/powerpoint/2019/9/main/command">
                <pc:docMk/>
                <pc:sldMk cId="1982435436" sldId="784"/>
                <pc2:cmMk id="{2AD81A66-B318-4779-B728-DF95F209397B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E6EF3998-92AD-6072-4EFD-17D05F98A206}" dt="2024-01-16T01:25:23.714" v="19"/>
        <pc:sldMkLst>
          <pc:docMk/>
          <pc:sldMk cId="1112372070" sldId="824"/>
        </pc:sldMkLst>
        <pc:spChg chg="mod">
          <ac:chgData name="Alana Rivera" userId="S::arg3669@ads.northwestern.edu::fc8b707a-b7e9-4f2a-8d71-2d76819b7881" providerId="AD" clId="Web-{E6EF3998-92AD-6072-4EFD-17D05F98A206}" dt="2024-01-16T01:25:12.136" v="18"/>
          <ac:spMkLst>
            <pc:docMk/>
            <pc:sldMk cId="1112372070" sldId="824"/>
            <ac:spMk id="2" creationId="{3FB4878F-0400-AE7C-3EEE-62994307E9E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E6EF3998-92AD-6072-4EFD-17D05F98A206}" dt="2024-01-16T01:25:23.714" v="19"/>
              <pc2:cmMkLst xmlns:pc2="http://schemas.microsoft.com/office/powerpoint/2019/9/main/command">
                <pc:docMk/>
                <pc:sldMk cId="1112372070" sldId="824"/>
                <pc2:cmMk id="{01F2BFB4-0AC3-41E8-9239-F8CEC7A4AA19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5A64394E-2FA8-0BEC-0D5D-FBFEA1A6F0F8}"/>
    <pc:docChg chg="addSld addMainMaster modMainMaster">
      <pc:chgData name="Alana Rivera" userId="S::arg3669@ads.northwestern.edu::fc8b707a-b7e9-4f2a-8d71-2d76819b7881" providerId="AD" clId="Web-{5A64394E-2FA8-0BEC-0D5D-FBFEA1A6F0F8}" dt="2024-02-29T13:24:16.854" v="0"/>
      <pc:docMkLst>
        <pc:docMk/>
      </pc:docMkLst>
      <pc:sldChg chg="add">
        <pc:chgData name="Alana Rivera" userId="S::arg3669@ads.northwestern.edu::fc8b707a-b7e9-4f2a-8d71-2d76819b7881" providerId="AD" clId="Web-{5A64394E-2FA8-0BEC-0D5D-FBFEA1A6F0F8}" dt="2024-02-29T13:24:16.854" v="0"/>
        <pc:sldMkLst>
          <pc:docMk/>
          <pc:sldMk cId="2376362958" sldId="834"/>
        </pc:sldMkLst>
      </pc:sldChg>
      <pc:sldMasterChg chg="modSldLayout">
        <pc:chgData name="Alana Rivera" userId="S::arg3669@ads.northwestern.edu::fc8b707a-b7e9-4f2a-8d71-2d76819b7881" providerId="AD" clId="Web-{5A64394E-2FA8-0BEC-0D5D-FBFEA1A6F0F8}" dt="2024-02-29T13:24:16.854" v="0"/>
        <pc:sldMasterMkLst>
          <pc:docMk/>
          <pc:sldMasterMk cId="989504779" sldId="2147483734"/>
        </pc:sldMasterMkLst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989504779" sldId="2147483734"/>
            <pc:sldLayoutMk cId="3476272431" sldId="2147488396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989504779" sldId="2147483734"/>
            <pc:sldLayoutMk cId="3069300124" sldId="2147488397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989504779" sldId="2147483734"/>
            <pc:sldLayoutMk cId="1480140117" sldId="2147488398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989504779" sldId="2147483734"/>
            <pc:sldLayoutMk cId="1059781530" sldId="2147488399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989504779" sldId="2147483734"/>
            <pc:sldLayoutMk cId="1855494103" sldId="2147488400"/>
          </pc:sldLayoutMkLst>
        </pc:sldLayoutChg>
      </pc:sldMasterChg>
      <pc:sldMasterChg chg="modSldLayout">
        <pc:chgData name="Alana Rivera" userId="S::arg3669@ads.northwestern.edu::fc8b707a-b7e9-4f2a-8d71-2d76819b7881" providerId="AD" clId="Web-{5A64394E-2FA8-0BEC-0D5D-FBFEA1A6F0F8}" dt="2024-02-29T13:24:16.854" v="0"/>
        <pc:sldMasterMkLst>
          <pc:docMk/>
          <pc:sldMasterMk cId="3029083726" sldId="2147484574"/>
        </pc:sldMasterMkLst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1550478061" sldId="2147488389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2710635205" sldId="2147488390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1915753400" sldId="2147488391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4021893059" sldId="2147488392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3224402013" sldId="2147488393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836062418" sldId="2147488394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1393629825" sldId="2147488395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1764726885" sldId="2147488401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3730899934" sldId="2147488402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1074901268" sldId="2147488403"/>
          </pc:sldLayoutMkLst>
        </pc:sldLayoutChg>
        <pc:sldLayoutChg chg="replI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3029083726" sldId="2147484574"/>
            <pc:sldLayoutMk cId="592162936" sldId="2147488404"/>
          </pc:sldLayoutMkLst>
        </pc:sldLayoutChg>
      </pc:sldMasterChg>
      <pc:sldMasterChg chg="add addSldLayout">
        <pc:chgData name="Alana Rivera" userId="S::arg3669@ads.northwestern.edu::fc8b707a-b7e9-4f2a-8d71-2d76819b7881" providerId="AD" clId="Web-{5A64394E-2FA8-0BEC-0D5D-FBFEA1A6F0F8}" dt="2024-02-29T13:24:16.854" v="0"/>
        <pc:sldMasterMkLst>
          <pc:docMk/>
          <pc:sldMasterMk cId="2460954070" sldId="2147488246"/>
        </pc:sldMasterMkLst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146388984" sldId="2147483667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171841454" sldId="2147483668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1718958274" sldId="2147483669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2202905451" sldId="2147483670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479445657" sldId="2147483671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1739842675" sldId="2147488242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4262274650" sldId="2147488243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2134249136" sldId="2147488244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760331786" sldId="2147488245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2385387890" sldId="2147488247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949138452" sldId="2147488248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2591524520" sldId="2147488249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1203092039" sldId="2147488250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733172339" sldId="2147488251"/>
          </pc:sldLayoutMkLst>
        </pc:sldLayoutChg>
        <pc:sldLayoutChg chg="add">
          <pc:chgData name="Alana Rivera" userId="S::arg3669@ads.northwestern.edu::fc8b707a-b7e9-4f2a-8d71-2d76819b7881" providerId="AD" clId="Web-{5A64394E-2FA8-0BEC-0D5D-FBFEA1A6F0F8}" dt="2024-02-29T13:24:16.854" v="0"/>
          <pc:sldLayoutMkLst>
            <pc:docMk/>
            <pc:sldMasterMk cId="2460954070" sldId="2147488246"/>
            <pc:sldLayoutMk cId="3210312558" sldId="2147488252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EBF962DB-CAFA-790F-8DDF-74E2050C60D6}"/>
    <pc:docChg chg="addSld delSld modSld">
      <pc:chgData name="Aleena Lida Surenian" userId="S::als0813@ads.northwestern.edu::e2fd0e4e-6417-49b0-ab16-0ba26a1719f0" providerId="AD" clId="Web-{EBF962DB-CAFA-790F-8DDF-74E2050C60D6}" dt="2024-02-15T15:14:28.982" v="134"/>
      <pc:docMkLst>
        <pc:docMk/>
      </pc:docMkLst>
      <pc:sldChg chg="add del mod modShow">
        <pc:chgData name="Aleena Lida Surenian" userId="S::als0813@ads.northwestern.edu::e2fd0e4e-6417-49b0-ab16-0ba26a1719f0" providerId="AD" clId="Web-{EBF962DB-CAFA-790F-8DDF-74E2050C60D6}" dt="2024-02-15T15:14:28.982" v="134"/>
        <pc:sldMkLst>
          <pc:docMk/>
          <pc:sldMk cId="3104795000" sldId="694"/>
        </pc:sldMkLst>
      </pc:sldChg>
      <pc:sldChg chg="modSp">
        <pc:chgData name="Aleena Lida Surenian" userId="S::als0813@ads.northwestern.edu::e2fd0e4e-6417-49b0-ab16-0ba26a1719f0" providerId="AD" clId="Web-{EBF962DB-CAFA-790F-8DDF-74E2050C60D6}" dt="2024-02-15T15:07:44.420" v="128"/>
        <pc:sldMkLst>
          <pc:docMk/>
          <pc:sldMk cId="135399322" sldId="822"/>
        </pc:sldMkLst>
        <pc:graphicFrameChg chg="mod modGraphic">
          <ac:chgData name="Aleena Lida Surenian" userId="S::als0813@ads.northwestern.edu::e2fd0e4e-6417-49b0-ab16-0ba26a1719f0" providerId="AD" clId="Web-{EBF962DB-CAFA-790F-8DDF-74E2050C60D6}" dt="2024-02-15T15:07:44.420" v="128"/>
          <ac:graphicFrameMkLst>
            <pc:docMk/>
            <pc:sldMk cId="135399322" sldId="822"/>
            <ac:graphicFrameMk id="12717" creationId="{00000000-0000-0000-0000-000000000000}"/>
          </ac:graphicFrameMkLst>
        </pc:graphicFrameChg>
      </pc:sldChg>
      <pc:sldChg chg="add">
        <pc:chgData name="Aleena Lida Surenian" userId="S::als0813@ads.northwestern.edu::e2fd0e4e-6417-49b0-ab16-0ba26a1719f0" providerId="AD" clId="Web-{EBF962DB-CAFA-790F-8DDF-74E2050C60D6}" dt="2024-02-15T15:07:55.748" v="129"/>
        <pc:sldMkLst>
          <pc:docMk/>
          <pc:sldMk cId="2997036987" sldId="831"/>
        </pc:sldMkLst>
      </pc:sldChg>
      <pc:sldChg chg="add">
        <pc:chgData name="Aleena Lida Surenian" userId="S::als0813@ads.northwestern.edu::e2fd0e4e-6417-49b0-ab16-0ba26a1719f0" providerId="AD" clId="Web-{EBF962DB-CAFA-790F-8DDF-74E2050C60D6}" dt="2024-02-15T15:08:08.952" v="130"/>
        <pc:sldMkLst>
          <pc:docMk/>
          <pc:sldMk cId="189551" sldId="832"/>
        </pc:sldMkLst>
      </pc:sldChg>
      <pc:sldChg chg="add">
        <pc:chgData name="Aleena Lida Surenian" userId="S::als0813@ads.northwestern.edu::e2fd0e4e-6417-49b0-ab16-0ba26a1719f0" providerId="AD" clId="Web-{EBF962DB-CAFA-790F-8DDF-74E2050C60D6}" dt="2024-02-15T15:09:14.814" v="131"/>
        <pc:sldMkLst>
          <pc:docMk/>
          <pc:sldMk cId="664818652" sldId="833"/>
        </pc:sldMkLst>
      </pc:sldChg>
    </pc:docChg>
  </pc:docChgLst>
  <pc:docChgLst>
    <pc:chgData name="Alana Rivera" userId="S::arg3669@ads.northwestern.edu::fc8b707a-b7e9-4f2a-8d71-2d76819b7881" providerId="AD" clId="Web-{B39E9075-5378-8726-250D-FBCB0B4D1878}"/>
    <pc:docChg chg="addSld delSld modSld sldOrd">
      <pc:chgData name="Alana Rivera" userId="S::arg3669@ads.northwestern.edu::fc8b707a-b7e9-4f2a-8d71-2d76819b7881" providerId="AD" clId="Web-{B39E9075-5378-8726-250D-FBCB0B4D1878}" dt="2022-09-15T17:12:46.024" v="1171"/>
      <pc:docMkLst>
        <pc:docMk/>
      </pc:docMkLst>
      <pc:sldChg chg="addSp modSp">
        <pc:chgData name="Alana Rivera" userId="S::arg3669@ads.northwestern.edu::fc8b707a-b7e9-4f2a-8d71-2d76819b7881" providerId="AD" clId="Web-{B39E9075-5378-8726-250D-FBCB0B4D1878}" dt="2022-09-15T16:01:36.364" v="236" actId="20577"/>
        <pc:sldMkLst>
          <pc:docMk/>
          <pc:sldMk cId="0" sldId="256"/>
        </pc:sldMkLst>
        <pc:spChg chg="mod">
          <ac:chgData name="Alana Rivera" userId="S::arg3669@ads.northwestern.edu::fc8b707a-b7e9-4f2a-8d71-2d76819b7881" providerId="AD" clId="Web-{B39E9075-5378-8726-250D-FBCB0B4D1878}" dt="2022-09-15T16:00:05.392" v="234" actId="1076"/>
          <ac:spMkLst>
            <pc:docMk/>
            <pc:sldMk cId="0" sldId="256"/>
            <ac:spMk id="8" creationId="{00000000-0000-0000-0000-000000000000}"/>
          </ac:spMkLst>
        </pc:spChg>
        <pc:spChg chg="add mod">
          <ac:chgData name="Alana Rivera" userId="S::arg3669@ads.northwestern.edu::fc8b707a-b7e9-4f2a-8d71-2d76819b7881" providerId="AD" clId="Web-{B39E9075-5378-8726-250D-FBCB0B4D1878}" dt="2022-09-15T16:01:36.364" v="236" actId="20577"/>
          <ac:spMkLst>
            <pc:docMk/>
            <pc:sldMk cId="0" sldId="256"/>
            <ac:spMk id="11" creationId="{2D9C979C-A56E-EA49-D79D-F81F63E74927}"/>
          </ac:spMkLst>
        </pc:spChg>
      </pc:sldChg>
      <pc:sldChg chg="addSp delSp modSp">
        <pc:chgData name="Alana Rivera" userId="S::arg3669@ads.northwestern.edu::fc8b707a-b7e9-4f2a-8d71-2d76819b7881" providerId="AD" clId="Web-{B39E9075-5378-8726-250D-FBCB0B4D1878}" dt="2022-09-15T17:02:59.896" v="1049" actId="20577"/>
        <pc:sldMkLst>
          <pc:docMk/>
          <pc:sldMk cId="2364613253" sldId="566"/>
        </pc:sldMkLst>
        <pc:spChg chg="mod">
          <ac:chgData name="Alana Rivera" userId="S::arg3669@ads.northwestern.edu::fc8b707a-b7e9-4f2a-8d71-2d76819b7881" providerId="AD" clId="Web-{B39E9075-5378-8726-250D-FBCB0B4D1878}" dt="2022-09-15T17:02:59.896" v="1049" actId="20577"/>
          <ac:spMkLst>
            <pc:docMk/>
            <pc:sldMk cId="2364613253" sldId="566"/>
            <ac:spMk id="3" creationId="{00000000-0000-0000-0000-000000000000}"/>
          </ac:spMkLst>
        </pc:spChg>
        <pc:picChg chg="add del mod">
          <ac:chgData name="Alana Rivera" userId="S::arg3669@ads.northwestern.edu::fc8b707a-b7e9-4f2a-8d71-2d76819b7881" providerId="AD" clId="Web-{B39E9075-5378-8726-250D-FBCB0B4D1878}" dt="2022-09-15T15:09:15.336" v="134"/>
          <ac:picMkLst>
            <pc:docMk/>
            <pc:sldMk cId="2364613253" sldId="566"/>
            <ac:picMk id="6" creationId="{69AF0020-C873-FD51-0E9E-B898605D2BF2}"/>
          </ac:picMkLst>
        </pc:picChg>
      </pc:sldChg>
      <pc:sldChg chg="modSp">
        <pc:chgData name="Alana Rivera" userId="S::arg3669@ads.northwestern.edu::fc8b707a-b7e9-4f2a-8d71-2d76819b7881" providerId="AD" clId="Web-{B39E9075-5378-8726-250D-FBCB0B4D1878}" dt="2022-09-15T16:18:13.956" v="464" actId="20577"/>
        <pc:sldMkLst>
          <pc:docMk/>
          <pc:sldMk cId="689945248" sldId="584"/>
        </pc:sldMkLst>
        <pc:spChg chg="mod">
          <ac:chgData name="Alana Rivera" userId="S::arg3669@ads.northwestern.edu::fc8b707a-b7e9-4f2a-8d71-2d76819b7881" providerId="AD" clId="Web-{B39E9075-5378-8726-250D-FBCB0B4D1878}" dt="2022-09-15T16:18:13.956" v="464" actId="20577"/>
          <ac:spMkLst>
            <pc:docMk/>
            <pc:sldMk cId="689945248" sldId="584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B39E9075-5378-8726-250D-FBCB0B4D1878}" dt="2022-09-15T16:18:32.644" v="468" actId="1076"/>
        <pc:sldMkLst>
          <pc:docMk/>
          <pc:sldMk cId="2667245854" sldId="588"/>
        </pc:sldMkLst>
        <pc:spChg chg="mod">
          <ac:chgData name="Alana Rivera" userId="S::arg3669@ads.northwestern.edu::fc8b707a-b7e9-4f2a-8d71-2d76819b7881" providerId="AD" clId="Web-{B39E9075-5378-8726-250D-FBCB0B4D1878}" dt="2022-09-15T16:18:30.972" v="467" actId="20577"/>
          <ac:spMkLst>
            <pc:docMk/>
            <pc:sldMk cId="2667245854" sldId="588"/>
            <ac:spMk id="9" creationId="{00000000-0000-0000-0000-000000000000}"/>
          </ac:spMkLst>
        </pc:spChg>
        <pc:picChg chg="mod">
          <ac:chgData name="Alana Rivera" userId="S::arg3669@ads.northwestern.edu::fc8b707a-b7e9-4f2a-8d71-2d76819b7881" providerId="AD" clId="Web-{B39E9075-5378-8726-250D-FBCB0B4D1878}" dt="2022-09-15T16:18:32.644" v="468" actId="1076"/>
          <ac:picMkLst>
            <pc:docMk/>
            <pc:sldMk cId="2667245854" sldId="588"/>
            <ac:picMk id="11" creationId="{00000000-0000-0000-0000-000000000000}"/>
          </ac:picMkLst>
        </pc:picChg>
      </pc:sldChg>
      <pc:sldChg chg="addSp modSp mod setBg">
        <pc:chgData name="Alana Rivera" userId="S::arg3669@ads.northwestern.edu::fc8b707a-b7e9-4f2a-8d71-2d76819b7881" providerId="AD" clId="Web-{B39E9075-5378-8726-250D-FBCB0B4D1878}" dt="2022-09-15T17:12:23.585" v="1169" actId="20577"/>
        <pc:sldMkLst>
          <pc:docMk/>
          <pc:sldMk cId="1197315710" sldId="589"/>
        </pc:sldMkLst>
        <pc:spChg chg="mod ord">
          <ac:chgData name="Alana Rivera" userId="S::arg3669@ads.northwestern.edu::fc8b707a-b7e9-4f2a-8d71-2d76819b7881" providerId="AD" clId="Web-{B39E9075-5378-8726-250D-FBCB0B4D1878}" dt="2022-09-15T17:12:01.241" v="1164"/>
          <ac:spMkLst>
            <pc:docMk/>
            <pc:sldMk cId="1197315710" sldId="589"/>
            <ac:spMk id="2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7:12:01.241" v="1164"/>
          <ac:spMkLst>
            <pc:docMk/>
            <pc:sldMk cId="1197315710" sldId="589"/>
            <ac:spMk id="4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7:12:01.241" v="1164"/>
          <ac:spMkLst>
            <pc:docMk/>
            <pc:sldMk cId="1197315710" sldId="589"/>
            <ac:spMk id="5" creationId="{00000000-0000-0000-0000-000000000000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7:12:23.585" v="1169" actId="20577"/>
          <ac:spMkLst>
            <pc:docMk/>
            <pc:sldMk cId="1197315710" sldId="589"/>
            <ac:spMk id="10" creationId="{00000000-0000-0000-0000-000000000000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7:12:01.241" v="1164"/>
          <ac:spMkLst>
            <pc:docMk/>
            <pc:sldMk cId="1197315710" sldId="589"/>
            <ac:spMk id="15" creationId="{04812C46-200A-4DEB-A05E-3ED6C68C2387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7:12:01.241" v="1164"/>
          <ac:spMkLst>
            <pc:docMk/>
            <pc:sldMk cId="1197315710" sldId="589"/>
            <ac:spMk id="17" creationId="{D1EA859B-E555-4109-94F3-6700E046E008}"/>
          </ac:spMkLst>
        </pc:spChg>
        <pc:picChg chg="mod">
          <ac:chgData name="Alana Rivera" userId="S::arg3669@ads.northwestern.edu::fc8b707a-b7e9-4f2a-8d71-2d76819b7881" providerId="AD" clId="Web-{B39E9075-5378-8726-250D-FBCB0B4D1878}" dt="2022-09-15T17:12:01.241" v="1164"/>
          <ac:picMkLst>
            <pc:docMk/>
            <pc:sldMk cId="1197315710" sldId="589"/>
            <ac:picMk id="9" creationId="{00000000-0000-0000-0000-000000000000}"/>
          </ac:picMkLst>
        </pc:picChg>
      </pc:sldChg>
      <pc:sldChg chg="addSp delSp modSp mod setBg">
        <pc:chgData name="Alana Rivera" userId="S::arg3669@ads.northwestern.edu::fc8b707a-b7e9-4f2a-8d71-2d76819b7881" providerId="AD" clId="Web-{B39E9075-5378-8726-250D-FBCB0B4D1878}" dt="2022-09-15T17:12:46.024" v="1171"/>
        <pc:sldMkLst>
          <pc:docMk/>
          <pc:sldMk cId="1950127266" sldId="590"/>
        </pc:sldMkLst>
        <pc:spChg chg="mod">
          <ac:chgData name="Alana Rivera" userId="S::arg3669@ads.northwestern.edu::fc8b707a-b7e9-4f2a-8d71-2d76819b7881" providerId="AD" clId="Web-{B39E9075-5378-8726-250D-FBCB0B4D1878}" dt="2022-09-15T17:12:46.024" v="1171"/>
          <ac:spMkLst>
            <pc:docMk/>
            <pc:sldMk cId="1950127266" sldId="590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7:12:46.024" v="1171"/>
          <ac:spMkLst>
            <pc:docMk/>
            <pc:sldMk cId="1950127266" sldId="590"/>
            <ac:spMk id="3" creationId="{00000000-0000-0000-0000-000000000000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7:12:46.024" v="1171"/>
          <ac:spMkLst>
            <pc:docMk/>
            <pc:sldMk cId="1950127266" sldId="590"/>
            <ac:spMk id="4" creationId="{00000000-0000-0000-0000-000000000000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7:12:46.024" v="1171"/>
          <ac:spMkLst>
            <pc:docMk/>
            <pc:sldMk cId="1950127266" sldId="590"/>
            <ac:spMk id="5" creationId="{00000000-0000-0000-0000-000000000000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12:46.024" v="1171"/>
          <ac:spMkLst>
            <pc:docMk/>
            <pc:sldMk cId="1950127266" sldId="590"/>
            <ac:spMk id="13" creationId="{D1D34770-47A8-402C-AF23-2B653F2D88C1}"/>
          </ac:spMkLst>
        </pc:spChg>
        <pc:picChg chg="mod">
          <ac:chgData name="Alana Rivera" userId="S::arg3669@ads.northwestern.edu::fc8b707a-b7e9-4f2a-8d71-2d76819b7881" providerId="AD" clId="Web-{B39E9075-5378-8726-250D-FBCB0B4D1878}" dt="2022-09-15T17:12:46.024" v="1171"/>
          <ac:picMkLst>
            <pc:docMk/>
            <pc:sldMk cId="1950127266" sldId="590"/>
            <ac:picMk id="8" creationId="{00000000-0000-0000-0000-000000000000}"/>
          </ac:picMkLst>
        </pc:picChg>
      </pc:sldChg>
      <pc:sldChg chg="delCm">
        <pc:chgData name="Alana Rivera" userId="S::arg3669@ads.northwestern.edu::fc8b707a-b7e9-4f2a-8d71-2d76819b7881" providerId="AD" clId="Web-{B39E9075-5378-8726-250D-FBCB0B4D1878}" dt="2022-09-15T16:19:13.833" v="469"/>
        <pc:sldMkLst>
          <pc:docMk/>
          <pc:sldMk cId="1344769324" sldId="599"/>
        </pc:sldMkLst>
      </pc:sldChg>
      <pc:sldChg chg="modSp">
        <pc:chgData name="Alana Rivera" userId="S::arg3669@ads.northwestern.edu::fc8b707a-b7e9-4f2a-8d71-2d76819b7881" providerId="AD" clId="Web-{B39E9075-5378-8726-250D-FBCB0B4D1878}" dt="2022-09-15T16:20:07.366" v="483" actId="20577"/>
        <pc:sldMkLst>
          <pc:docMk/>
          <pc:sldMk cId="3589410507" sldId="600"/>
        </pc:sldMkLst>
        <pc:spChg chg="mod">
          <ac:chgData name="Alana Rivera" userId="S::arg3669@ads.northwestern.edu::fc8b707a-b7e9-4f2a-8d71-2d76819b7881" providerId="AD" clId="Web-{B39E9075-5378-8726-250D-FBCB0B4D1878}" dt="2022-09-15T16:19:43.287" v="479" actId="20577"/>
          <ac:spMkLst>
            <pc:docMk/>
            <pc:sldMk cId="3589410507" sldId="600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6:20:07.366" v="483" actId="20577"/>
          <ac:spMkLst>
            <pc:docMk/>
            <pc:sldMk cId="3589410507" sldId="600"/>
            <ac:spMk id="3" creationId="{00000000-0000-0000-0000-000000000000}"/>
          </ac:spMkLst>
        </pc:spChg>
      </pc:sldChg>
      <pc:sldChg chg="del">
        <pc:chgData name="Alana Rivera" userId="S::arg3669@ads.northwestern.edu::fc8b707a-b7e9-4f2a-8d71-2d76819b7881" providerId="AD" clId="Web-{B39E9075-5378-8726-250D-FBCB0B4D1878}" dt="2022-09-15T16:22:32.917" v="494"/>
        <pc:sldMkLst>
          <pc:docMk/>
          <pc:sldMk cId="3665197189" sldId="601"/>
        </pc:sldMkLst>
      </pc:sldChg>
      <pc:sldChg chg="del">
        <pc:chgData name="Alana Rivera" userId="S::arg3669@ads.northwestern.edu::fc8b707a-b7e9-4f2a-8d71-2d76819b7881" providerId="AD" clId="Web-{B39E9075-5378-8726-250D-FBCB0B4D1878}" dt="2022-09-15T16:23:56.045" v="501"/>
        <pc:sldMkLst>
          <pc:docMk/>
          <pc:sldMk cId="1312118161" sldId="606"/>
        </pc:sldMkLst>
      </pc:sldChg>
      <pc:sldChg chg="modSp">
        <pc:chgData name="Alana Rivera" userId="S::arg3669@ads.northwestern.edu::fc8b707a-b7e9-4f2a-8d71-2d76819b7881" providerId="AD" clId="Web-{B39E9075-5378-8726-250D-FBCB0B4D1878}" dt="2022-09-15T16:26:25.268" v="512" actId="1076"/>
        <pc:sldMkLst>
          <pc:docMk/>
          <pc:sldMk cId="2658620609" sldId="607"/>
        </pc:sldMkLst>
        <pc:spChg chg="mod">
          <ac:chgData name="Alana Rivera" userId="S::arg3669@ads.northwestern.edu::fc8b707a-b7e9-4f2a-8d71-2d76819b7881" providerId="AD" clId="Web-{B39E9075-5378-8726-250D-FBCB0B4D1878}" dt="2022-09-15T16:26:25.268" v="512" actId="1076"/>
          <ac:spMkLst>
            <pc:docMk/>
            <pc:sldMk cId="2658620609" sldId="607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6:26:01.845" v="511" actId="20577"/>
          <ac:spMkLst>
            <pc:docMk/>
            <pc:sldMk cId="2658620609" sldId="607"/>
            <ac:spMk id="3" creationId="{00000000-0000-0000-0000-000000000000}"/>
          </ac:spMkLst>
        </pc:spChg>
      </pc:sldChg>
      <pc:sldChg chg="addSp delSp modSp add">
        <pc:chgData name="Alana Rivera" userId="S::arg3669@ads.northwestern.edu::fc8b707a-b7e9-4f2a-8d71-2d76819b7881" providerId="AD" clId="Web-{B39E9075-5378-8726-250D-FBCB0B4D1878}" dt="2022-09-15T16:34:38.408" v="532"/>
        <pc:sldMkLst>
          <pc:docMk/>
          <pc:sldMk cId="89077294" sldId="629"/>
        </pc:sldMkLst>
        <pc:spChg chg="mod">
          <ac:chgData name="Alana Rivera" userId="S::arg3669@ads.northwestern.edu::fc8b707a-b7e9-4f2a-8d71-2d76819b7881" providerId="AD" clId="Web-{B39E9075-5378-8726-250D-FBCB0B4D1878}" dt="2022-09-15T16:18:00.925" v="457" actId="20577"/>
          <ac:spMkLst>
            <pc:docMk/>
            <pc:sldMk cId="89077294" sldId="629"/>
            <ac:spMk id="15" creationId="{00000000-0000-0000-0000-000000000000}"/>
          </ac:spMkLst>
        </pc:spChg>
        <pc:picChg chg="add del mod">
          <ac:chgData name="Alana Rivera" userId="S::arg3669@ads.northwestern.edu::fc8b707a-b7e9-4f2a-8d71-2d76819b7881" providerId="AD" clId="Web-{B39E9075-5378-8726-250D-FBCB0B4D1878}" dt="2022-09-15T16:34:38.408" v="532"/>
          <ac:picMkLst>
            <pc:docMk/>
            <pc:sldMk cId="89077294" sldId="629"/>
            <ac:picMk id="2" creationId="{50BE2F1E-D265-B97F-9052-A29242F16C4A}"/>
          </ac:picMkLst>
        </pc:picChg>
      </pc:sldChg>
      <pc:sldChg chg="addSp delSp modSp add ord">
        <pc:chgData name="Alana Rivera" userId="S::arg3669@ads.northwestern.edu::fc8b707a-b7e9-4f2a-8d71-2d76819b7881" providerId="AD" clId="Web-{B39E9075-5378-8726-250D-FBCB0B4D1878}" dt="2022-09-15T16:17:54.518" v="450" actId="20577"/>
        <pc:sldMkLst>
          <pc:docMk/>
          <pc:sldMk cId="1191054267" sldId="630"/>
        </pc:sldMkLst>
        <pc:spChg chg="mod">
          <ac:chgData name="Alana Rivera" userId="S::arg3669@ads.northwestern.edu::fc8b707a-b7e9-4f2a-8d71-2d76819b7881" providerId="AD" clId="Web-{B39E9075-5378-8726-250D-FBCB0B4D1878}" dt="2022-09-15T16:17:54.518" v="450" actId="20577"/>
          <ac:spMkLst>
            <pc:docMk/>
            <pc:sldMk cId="1191054267" sldId="630"/>
            <ac:spMk id="2" creationId="{84EB8AC4-456D-277B-9FDC-C55E9091A5A6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6:16:41.438" v="441" actId="20577"/>
          <ac:spMkLst>
            <pc:docMk/>
            <pc:sldMk cId="1191054267" sldId="630"/>
            <ac:spMk id="3" creationId="{86A08B4B-F86A-6136-63E7-55CC5C625A95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6:14:58.622" v="439"/>
          <ac:spMkLst>
            <pc:docMk/>
            <pc:sldMk cId="1191054267" sldId="630"/>
            <ac:spMk id="4" creationId="{5442C318-44CB-925E-E0D5-315DD38DFBE8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6:14:55.044" v="438" actId="1076"/>
          <ac:spMkLst>
            <pc:docMk/>
            <pc:sldMk cId="1191054267" sldId="630"/>
            <ac:spMk id="10" creationId="{CF7A55C0-4CE8-F3DD-B0F0-5A5E0E640887}"/>
          </ac:spMkLst>
        </pc:spChg>
        <pc:picChg chg="add del mod">
          <ac:chgData name="Alana Rivera" userId="S::arg3669@ads.northwestern.edu::fc8b707a-b7e9-4f2a-8d71-2d76819b7881" providerId="AD" clId="Web-{B39E9075-5378-8726-250D-FBCB0B4D1878}" dt="2022-09-15T16:06:30.669" v="394"/>
          <ac:picMkLst>
            <pc:docMk/>
            <pc:sldMk cId="1191054267" sldId="630"/>
            <ac:picMk id="7" creationId="{66E576F0-06F5-9957-BA20-288AF38E7821}"/>
          </ac:picMkLst>
        </pc:picChg>
        <pc:picChg chg="mod">
          <ac:chgData name="Alana Rivera" userId="S::arg3669@ads.northwestern.edu::fc8b707a-b7e9-4f2a-8d71-2d76819b7881" providerId="AD" clId="Web-{B39E9075-5378-8726-250D-FBCB0B4D1878}" dt="2022-09-15T16:14:36.825" v="434" actId="1076"/>
          <ac:picMkLst>
            <pc:docMk/>
            <pc:sldMk cId="1191054267" sldId="630"/>
            <ac:picMk id="8" creationId="{F5F9A602-71F9-6751-3498-C4A5E579703E}"/>
          </ac:picMkLst>
        </pc:picChg>
      </pc:sldChg>
      <pc:sldChg chg="modSp add ord replId">
        <pc:chgData name="Alana Rivera" userId="S::arg3669@ads.northwestern.edu::fc8b707a-b7e9-4f2a-8d71-2d76819b7881" providerId="AD" clId="Web-{B39E9075-5378-8726-250D-FBCB0B4D1878}" dt="2022-09-15T16:22:29.964" v="493"/>
        <pc:sldMkLst>
          <pc:docMk/>
          <pc:sldMk cId="2371520634" sldId="631"/>
        </pc:sldMkLst>
        <pc:spChg chg="mod">
          <ac:chgData name="Alana Rivera" userId="S::arg3669@ads.northwestern.edu::fc8b707a-b7e9-4f2a-8d71-2d76819b7881" providerId="AD" clId="Web-{B39E9075-5378-8726-250D-FBCB0B4D1878}" dt="2022-09-15T16:22:29.730" v="492" actId="20577"/>
          <ac:spMkLst>
            <pc:docMk/>
            <pc:sldMk cId="2371520634" sldId="631"/>
            <ac:spMk id="2" creationId="{00000000-0000-0000-0000-000000000000}"/>
          </ac:spMkLst>
        </pc:spChg>
      </pc:sldChg>
      <pc:sldChg chg="modSp add ord replId">
        <pc:chgData name="Alana Rivera" userId="S::arg3669@ads.northwestern.edu::fc8b707a-b7e9-4f2a-8d71-2d76819b7881" providerId="AD" clId="Web-{B39E9075-5378-8726-250D-FBCB0B4D1878}" dt="2022-09-15T16:23:52.466" v="500" actId="20577"/>
        <pc:sldMkLst>
          <pc:docMk/>
          <pc:sldMk cId="888239619" sldId="632"/>
        </pc:sldMkLst>
        <pc:spChg chg="mod">
          <ac:chgData name="Alana Rivera" userId="S::arg3669@ads.northwestern.edu::fc8b707a-b7e9-4f2a-8d71-2d76819b7881" providerId="AD" clId="Web-{B39E9075-5378-8726-250D-FBCB0B4D1878}" dt="2022-09-15T16:23:52.466" v="500" actId="20577"/>
          <ac:spMkLst>
            <pc:docMk/>
            <pc:sldMk cId="888239619" sldId="632"/>
            <ac:spMk id="2" creationId="{00000000-0000-0000-0000-000000000000}"/>
          </ac:spMkLst>
        </pc:spChg>
      </pc:sldChg>
      <pc:sldChg chg="addSp delSp modSp new mod setBg addAnim delAnim setClrOvrMap">
        <pc:chgData name="Alana Rivera" userId="S::arg3669@ads.northwestern.edu::fc8b707a-b7e9-4f2a-8d71-2d76819b7881" providerId="AD" clId="Web-{B39E9075-5378-8726-250D-FBCB0B4D1878}" dt="2022-09-15T17:11:02.958" v="1161" actId="20577"/>
        <pc:sldMkLst>
          <pc:docMk/>
          <pc:sldMk cId="1418157478" sldId="633"/>
        </pc:sldMkLst>
        <pc:spChg chg="mod ord">
          <ac:chgData name="Alana Rivera" userId="S::arg3669@ads.northwestern.edu::fc8b707a-b7e9-4f2a-8d71-2d76819b7881" providerId="AD" clId="Web-{B39E9075-5378-8726-250D-FBCB0B4D1878}" dt="2022-09-15T17:07:26.811" v="1150" actId="1076"/>
          <ac:spMkLst>
            <pc:docMk/>
            <pc:sldMk cId="1418157478" sldId="633"/>
            <ac:spMk id="2" creationId="{BC137260-EABB-D91F-DF60-EA0F89C2060F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7:11:02.958" v="1161" actId="20577"/>
          <ac:spMkLst>
            <pc:docMk/>
            <pc:sldMk cId="1418157478" sldId="633"/>
            <ac:spMk id="3" creationId="{1374A498-DED8-8CA6-F58E-93ECCDB99F48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6:31:27.840" v="530"/>
          <ac:spMkLst>
            <pc:docMk/>
            <pc:sldMk cId="1418157478" sldId="633"/>
            <ac:spMk id="4" creationId="{589256F5-3976-B633-4BB9-51583BD5BD96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8.795" v="1146"/>
          <ac:spMkLst>
            <pc:docMk/>
            <pc:sldMk cId="1418157478" sldId="633"/>
            <ac:spMk id="11" creationId="{657F69E0-C4B0-4BEC-A689-4F8D877F05D4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8.795" v="1146"/>
          <ac:spMkLst>
            <pc:docMk/>
            <pc:sldMk cId="1418157478" sldId="633"/>
            <ac:spMk id="13" creationId="{9F6380B4-6A1C-481E-8408-B4E6C75B9B81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2.310" v="1141"/>
          <ac:spMkLst>
            <pc:docMk/>
            <pc:sldMk cId="1418157478" sldId="633"/>
            <ac:spMk id="18" creationId="{9B7AD9F6-8CE7-4299-8FC6-328F4DCD3FF9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2.310" v="1141"/>
          <ac:spMkLst>
            <pc:docMk/>
            <pc:sldMk cId="1418157478" sldId="633"/>
            <ac:spMk id="20" creationId="{F49775AF-8896-43EE-92C6-83497D6DC56F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8.795" v="1145"/>
          <ac:spMkLst>
            <pc:docMk/>
            <pc:sldMk cId="1418157478" sldId="633"/>
            <ac:spMk id="22" creationId="{C1DD1A8A-57D5-4A81-AD04-532B043C5611}"/>
          </ac:spMkLst>
        </pc:spChg>
        <pc:spChg chg="add del">
          <ac:chgData name="Alana Rivera" userId="S::arg3669@ads.northwestern.edu::fc8b707a-b7e9-4f2a-8d71-2d76819b7881" providerId="AD" clId="Web-{B39E9075-5378-8726-250D-FBCB0B4D1878}" dt="2022-09-15T17:07:08.795" v="1145"/>
          <ac:spMkLst>
            <pc:docMk/>
            <pc:sldMk cId="1418157478" sldId="633"/>
            <ac:spMk id="23" creationId="{007891EC-4501-44ED-A8C8-B11B6DB767AB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7:07:08.795" v="1146"/>
          <ac:spMkLst>
            <pc:docMk/>
            <pc:sldMk cId="1418157478" sldId="633"/>
            <ac:spMk id="25" creationId="{657F69E0-C4B0-4BEC-A689-4F8D877F05D4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7:07:08.795" v="1146"/>
          <ac:spMkLst>
            <pc:docMk/>
            <pc:sldMk cId="1418157478" sldId="633"/>
            <ac:spMk id="26" creationId="{9F6380B4-6A1C-481E-8408-B4E6C75B9B81}"/>
          </ac:spMkLst>
        </pc:spChg>
        <pc:picChg chg="add del mod ord modCrop">
          <ac:chgData name="Alana Rivera" userId="S::arg3669@ads.northwestern.edu::fc8b707a-b7e9-4f2a-8d71-2d76819b7881" providerId="AD" clId="Web-{B39E9075-5378-8726-250D-FBCB0B4D1878}" dt="2022-09-15T16:30:30.900" v="529"/>
          <ac:picMkLst>
            <pc:docMk/>
            <pc:sldMk cId="1418157478" sldId="633"/>
            <ac:picMk id="5" creationId="{FB2E81CB-F7EB-1CF6-6A6C-19C2BA4561AA}"/>
          </ac:picMkLst>
        </pc:picChg>
        <pc:picChg chg="add mod ord modCrop">
          <ac:chgData name="Alana Rivera" userId="S::arg3669@ads.northwestern.edu::fc8b707a-b7e9-4f2a-8d71-2d76819b7881" providerId="AD" clId="Web-{B39E9075-5378-8726-250D-FBCB0B4D1878}" dt="2022-09-15T17:07:08.795" v="1145"/>
          <ac:picMkLst>
            <pc:docMk/>
            <pc:sldMk cId="1418157478" sldId="633"/>
            <ac:picMk id="6" creationId="{918A0054-D0F6-439D-8824-CADD3C1651E3}"/>
          </ac:picMkLst>
        </pc:picChg>
      </pc:sldChg>
      <pc:sldChg chg="addSp delSp modSp new mod setBg">
        <pc:chgData name="Alana Rivera" userId="S::arg3669@ads.northwestern.edu::fc8b707a-b7e9-4f2a-8d71-2d76819b7881" providerId="AD" clId="Web-{B39E9075-5378-8726-250D-FBCB0B4D1878}" dt="2022-09-15T17:02:45.615" v="1047" actId="1076"/>
        <pc:sldMkLst>
          <pc:docMk/>
          <pc:sldMk cId="1545652074" sldId="634"/>
        </pc:sldMkLst>
        <pc:spChg chg="mod">
          <ac:chgData name="Alana Rivera" userId="S::arg3669@ads.northwestern.edu::fc8b707a-b7e9-4f2a-8d71-2d76819b7881" providerId="AD" clId="Web-{B39E9075-5378-8726-250D-FBCB0B4D1878}" dt="2022-09-15T17:02:45.615" v="1047" actId="1076"/>
          <ac:spMkLst>
            <pc:docMk/>
            <pc:sldMk cId="1545652074" sldId="634"/>
            <ac:spMk id="2" creationId="{B683E9F5-F8A9-0882-83EB-15117122A99C}"/>
          </ac:spMkLst>
        </pc:spChg>
        <pc:spChg chg="del">
          <ac:chgData name="Alana Rivera" userId="S::arg3669@ads.northwestern.edu::fc8b707a-b7e9-4f2a-8d71-2d76819b7881" providerId="AD" clId="Web-{B39E9075-5378-8726-250D-FBCB0B4D1878}" dt="2022-09-15T16:34:52.080" v="534"/>
          <ac:spMkLst>
            <pc:docMk/>
            <pc:sldMk cId="1545652074" sldId="634"/>
            <ac:spMk id="3" creationId="{C54F6992-08EF-C8A5-F9EF-7DA13573C094}"/>
          </ac:spMkLst>
        </pc:spChg>
        <pc:spChg chg="mod ord">
          <ac:chgData name="Alana Rivera" userId="S::arg3669@ads.northwestern.edu::fc8b707a-b7e9-4f2a-8d71-2d76819b7881" providerId="AD" clId="Web-{B39E9075-5378-8726-250D-FBCB0B4D1878}" dt="2022-09-15T16:57:36.887" v="779"/>
          <ac:spMkLst>
            <pc:docMk/>
            <pc:sldMk cId="1545652074" sldId="634"/>
            <ac:spMk id="4" creationId="{BBB6E5BF-6B78-A44B-20B7-F5A48EC67CC8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6:57:36.887" v="779"/>
          <ac:spMkLst>
            <pc:docMk/>
            <pc:sldMk cId="1545652074" sldId="634"/>
            <ac:spMk id="5" creationId="{F383B799-BF35-F403-F7A6-592EF1C30AB8}"/>
          </ac:spMkLst>
        </pc:spChg>
        <pc:spChg chg="add del mod">
          <ac:chgData name="Alana Rivera" userId="S::arg3669@ads.northwestern.edu::fc8b707a-b7e9-4f2a-8d71-2d76819b7881" providerId="AD" clId="Web-{B39E9075-5378-8726-250D-FBCB0B4D1878}" dt="2022-09-15T16:57:36.887" v="779"/>
          <ac:spMkLst>
            <pc:docMk/>
            <pc:sldMk cId="1545652074" sldId="634"/>
            <ac:spMk id="8" creationId="{E1E8BFC4-FD86-7DBB-5D2F-D95D557DD581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6:57:36.887" v="779"/>
          <ac:spMkLst>
            <pc:docMk/>
            <pc:sldMk cId="1545652074" sldId="634"/>
            <ac:spMk id="14" creationId="{D9A7F3BF-8763-4074-AD77-92790AF314D1}"/>
          </ac:spMkLst>
        </pc:spChg>
        <pc:grpChg chg="add">
          <ac:chgData name="Alana Rivera" userId="S::arg3669@ads.northwestern.edu::fc8b707a-b7e9-4f2a-8d71-2d76819b7881" providerId="AD" clId="Web-{B39E9075-5378-8726-250D-FBCB0B4D1878}" dt="2022-09-15T16:57:36.887" v="779"/>
          <ac:grpSpMkLst>
            <pc:docMk/>
            <pc:sldMk cId="1545652074" sldId="634"/>
            <ac:grpSpMk id="16" creationId="{7A9648D6-B41B-42D0-A817-AE2607B0B5B8}"/>
          </ac:grpSpMkLst>
        </pc:grpChg>
        <pc:graphicFrameChg chg="add modGraphic">
          <ac:chgData name="Alana Rivera" userId="S::arg3669@ads.northwestern.edu::fc8b707a-b7e9-4f2a-8d71-2d76819b7881" providerId="AD" clId="Web-{B39E9075-5378-8726-250D-FBCB0B4D1878}" dt="2022-09-15T17:02:21.223" v="1046" actId="20577"/>
          <ac:graphicFrameMkLst>
            <pc:docMk/>
            <pc:sldMk cId="1545652074" sldId="634"/>
            <ac:graphicFrameMk id="10" creationId="{26BA9CDE-AC79-8925-884F-AFBD6D6B10EB}"/>
          </ac:graphicFrameMkLst>
        </pc:graphicFrameChg>
        <pc:picChg chg="add del mod ord">
          <ac:chgData name="Alana Rivera" userId="S::arg3669@ads.northwestern.edu::fc8b707a-b7e9-4f2a-8d71-2d76819b7881" providerId="AD" clId="Web-{B39E9075-5378-8726-250D-FBCB0B4D1878}" dt="2022-09-15T16:35:00.080" v="535"/>
          <ac:picMkLst>
            <pc:docMk/>
            <pc:sldMk cId="1545652074" sldId="634"/>
            <ac:picMk id="6" creationId="{D0E6B8BA-A0ED-0BA9-9794-B836C2318735}"/>
          </ac:picMkLst>
        </pc:picChg>
        <pc:cxnChg chg="add">
          <ac:chgData name="Alana Rivera" userId="S::arg3669@ads.northwestern.edu::fc8b707a-b7e9-4f2a-8d71-2d76819b7881" providerId="AD" clId="Web-{B39E9075-5378-8726-250D-FBCB0B4D1878}" dt="2022-09-15T16:57:36.887" v="779"/>
          <ac:cxnSpMkLst>
            <pc:docMk/>
            <pc:sldMk cId="1545652074" sldId="634"/>
            <ac:cxnSpMk id="21" creationId="{C49DA8F6-BCC1-4447-B54C-57856834B94B}"/>
          </ac:cxnSpMkLst>
        </pc:cxnChg>
      </pc:sldChg>
      <pc:sldChg chg="addSp modSp new mod ord setBg">
        <pc:chgData name="Alana Rivera" userId="S::arg3669@ads.northwestern.edu::fc8b707a-b7e9-4f2a-8d71-2d76819b7881" providerId="AD" clId="Web-{B39E9075-5378-8726-250D-FBCB0B4D1878}" dt="2022-09-15T17:11:33.037" v="1163" actId="20577"/>
        <pc:sldMkLst>
          <pc:docMk/>
          <pc:sldMk cId="2969493686" sldId="635"/>
        </pc:sldMkLst>
        <pc:spChg chg="mod">
          <ac:chgData name="Alana Rivera" userId="S::arg3669@ads.northwestern.edu::fc8b707a-b7e9-4f2a-8d71-2d76819b7881" providerId="AD" clId="Web-{B39E9075-5378-8726-250D-FBCB0B4D1878}" dt="2022-09-15T17:11:25.802" v="1162" actId="20577"/>
          <ac:spMkLst>
            <pc:docMk/>
            <pc:sldMk cId="2969493686" sldId="635"/>
            <ac:spMk id="2" creationId="{0C90A595-FD3D-B3D6-8199-F786D57CE5F8}"/>
          </ac:spMkLst>
        </pc:spChg>
        <pc:spChg chg="mod">
          <ac:chgData name="Alana Rivera" userId="S::arg3669@ads.northwestern.edu::fc8b707a-b7e9-4f2a-8d71-2d76819b7881" providerId="AD" clId="Web-{B39E9075-5378-8726-250D-FBCB0B4D1878}" dt="2022-09-15T17:11:33.037" v="1163" actId="20577"/>
          <ac:spMkLst>
            <pc:docMk/>
            <pc:sldMk cId="2969493686" sldId="635"/>
            <ac:spMk id="3" creationId="{7B432F18-15BD-AE55-507E-EFD9F0E41A26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6:58:29.326" v="831"/>
          <ac:spMkLst>
            <pc:docMk/>
            <pc:sldMk cId="2969493686" sldId="635"/>
            <ac:spMk id="9" creationId="{C1DD1A8A-57D5-4A81-AD04-532B043C5611}"/>
          </ac:spMkLst>
        </pc:spChg>
        <pc:spChg chg="add">
          <ac:chgData name="Alana Rivera" userId="S::arg3669@ads.northwestern.edu::fc8b707a-b7e9-4f2a-8d71-2d76819b7881" providerId="AD" clId="Web-{B39E9075-5378-8726-250D-FBCB0B4D1878}" dt="2022-09-15T16:58:29.326" v="831"/>
          <ac:spMkLst>
            <pc:docMk/>
            <pc:sldMk cId="2969493686" sldId="635"/>
            <ac:spMk id="11" creationId="{007891EC-4501-44ED-A8C8-B11B6DB767AB}"/>
          </ac:spMkLst>
        </pc:spChg>
        <pc:picChg chg="add">
          <ac:chgData name="Alana Rivera" userId="S::arg3669@ads.northwestern.edu::fc8b707a-b7e9-4f2a-8d71-2d76819b7881" providerId="AD" clId="Web-{B39E9075-5378-8726-250D-FBCB0B4D1878}" dt="2022-09-15T16:58:29.326" v="831"/>
          <ac:picMkLst>
            <pc:docMk/>
            <pc:sldMk cId="2969493686" sldId="635"/>
            <ac:picMk id="5" creationId="{7A166286-8BE5-F739-BB28-B81644C3153D}"/>
          </ac:picMkLst>
        </pc:picChg>
      </pc:sldChg>
      <pc:sldChg chg="new del">
        <pc:chgData name="Alana Rivera" userId="S::arg3669@ads.northwestern.edu::fc8b707a-b7e9-4f2a-8d71-2d76819b7881" providerId="AD" clId="Web-{B39E9075-5378-8726-250D-FBCB0B4D1878}" dt="2022-09-15T16:48:32.823" v="628"/>
        <pc:sldMkLst>
          <pc:docMk/>
          <pc:sldMk cId="3629656675" sldId="635"/>
        </pc:sldMkLst>
      </pc:sldChg>
    </pc:docChg>
  </pc:docChgLst>
  <pc:docChgLst>
    <pc:chgData name="Aleena Lida Surenian" userId="S::als0813@ads.northwestern.edu::e2fd0e4e-6417-49b0-ab16-0ba26a1719f0" providerId="AD" clId="Web-{14E50F44-A0DD-F06F-D610-3C24E6CFA255}"/>
    <pc:docChg chg="addSld delSld modSld modMainMaster">
      <pc:chgData name="Aleena Lida Surenian" userId="S::als0813@ads.northwestern.edu::e2fd0e4e-6417-49b0-ab16-0ba26a1719f0" providerId="AD" clId="Web-{14E50F44-A0DD-F06F-D610-3C24E6CFA255}" dt="2023-04-11T13:16:12.070" v="16" actId="1076"/>
      <pc:docMkLst>
        <pc:docMk/>
      </pc:docMkLst>
      <pc:sldChg chg="addSp delSp modSp">
        <pc:chgData name="Aleena Lida Surenian" userId="S::als0813@ads.northwestern.edu::e2fd0e4e-6417-49b0-ab16-0ba26a1719f0" providerId="AD" clId="Web-{14E50F44-A0DD-F06F-D610-3C24E6CFA255}" dt="2023-04-11T13:00:37.954" v="5" actId="1076"/>
        <pc:sldMkLst>
          <pc:docMk/>
          <pc:sldMk cId="2506523410" sldId="695"/>
        </pc:sldMkLst>
        <pc:picChg chg="add mod">
          <ac:chgData name="Aleena Lida Surenian" userId="S::als0813@ads.northwestern.edu::e2fd0e4e-6417-49b0-ab16-0ba26a1719f0" providerId="AD" clId="Web-{14E50F44-A0DD-F06F-D610-3C24E6CFA255}" dt="2023-04-11T13:00:37.954" v="5" actId="1076"/>
          <ac:picMkLst>
            <pc:docMk/>
            <pc:sldMk cId="2506523410" sldId="695"/>
            <ac:picMk id="3" creationId="{DCE593E4-ADF4-E456-77D5-B17D1A33201F}"/>
          </ac:picMkLst>
        </pc:picChg>
        <pc:picChg chg="del">
          <ac:chgData name="Aleena Lida Surenian" userId="S::als0813@ads.northwestern.edu::e2fd0e4e-6417-49b0-ab16-0ba26a1719f0" providerId="AD" clId="Web-{14E50F44-A0DD-F06F-D610-3C24E6CFA255}" dt="2023-04-11T13:00:23.907" v="0"/>
          <ac:picMkLst>
            <pc:docMk/>
            <pc:sldMk cId="2506523410" sldId="695"/>
            <ac:picMk id="6" creationId="{B2B3527E-5D36-C634-DCEE-18AC8FCDD785}"/>
          </ac:picMkLst>
        </pc:picChg>
      </pc:sldChg>
      <pc:sldChg chg="del">
        <pc:chgData name="Aleena Lida Surenian" userId="S::als0813@ads.northwestern.edu::e2fd0e4e-6417-49b0-ab16-0ba26a1719f0" providerId="AD" clId="Web-{14E50F44-A0DD-F06F-D610-3C24E6CFA255}" dt="2023-04-11T13:03:11.833" v="8"/>
        <pc:sldMkLst>
          <pc:docMk/>
          <pc:sldMk cId="1539759889" sldId="731"/>
        </pc:sldMkLst>
      </pc:sldChg>
      <pc:sldChg chg="del">
        <pc:chgData name="Aleena Lida Surenian" userId="S::als0813@ads.northwestern.edu::e2fd0e4e-6417-49b0-ab16-0ba26a1719f0" providerId="AD" clId="Web-{14E50F44-A0DD-F06F-D610-3C24E6CFA255}" dt="2023-04-11T13:04:49.085" v="10"/>
        <pc:sldMkLst>
          <pc:docMk/>
          <pc:sldMk cId="1475128568" sldId="743"/>
        </pc:sldMkLst>
      </pc:sldChg>
      <pc:sldChg chg="addSp add">
        <pc:chgData name="Aleena Lida Surenian" userId="S::als0813@ads.northwestern.edu::e2fd0e4e-6417-49b0-ab16-0ba26a1719f0" providerId="AD" clId="Web-{14E50F44-A0DD-F06F-D610-3C24E6CFA255}" dt="2023-04-11T13:03:08.286" v="7"/>
        <pc:sldMkLst>
          <pc:docMk/>
          <pc:sldMk cId="2150107074" sldId="749"/>
        </pc:sldMkLst>
        <pc:spChg chg="add">
          <ac:chgData name="Aleena Lida Surenian" userId="S::als0813@ads.northwestern.edu::e2fd0e4e-6417-49b0-ab16-0ba26a1719f0" providerId="AD" clId="Web-{14E50F44-A0DD-F06F-D610-3C24E6CFA255}" dt="2023-04-11T13:03:08.286" v="7"/>
          <ac:spMkLst>
            <pc:docMk/>
            <pc:sldMk cId="2150107074" sldId="749"/>
            <ac:spMk id="16" creationId="{7EE1FD41-C26A-96F0-980E-0A2AA890C3D3}"/>
          </ac:spMkLst>
        </pc:spChg>
      </pc:sldChg>
      <pc:sldChg chg="add">
        <pc:chgData name="Aleena Lida Surenian" userId="S::als0813@ads.northwestern.edu::e2fd0e4e-6417-49b0-ab16-0ba26a1719f0" providerId="AD" clId="Web-{14E50F44-A0DD-F06F-D610-3C24E6CFA255}" dt="2023-04-11T13:04:18.272" v="9"/>
        <pc:sldMkLst>
          <pc:docMk/>
          <pc:sldMk cId="1901239047" sldId="750"/>
        </pc:sldMkLst>
      </pc:sldChg>
      <pc:sldChg chg="addSp delSp modSp add">
        <pc:chgData name="Aleena Lida Surenian" userId="S::als0813@ads.northwestern.edu::e2fd0e4e-6417-49b0-ab16-0ba26a1719f0" providerId="AD" clId="Web-{14E50F44-A0DD-F06F-D610-3C24E6CFA255}" dt="2023-04-11T13:16:12.070" v="16" actId="1076"/>
        <pc:sldMkLst>
          <pc:docMk/>
          <pc:sldMk cId="3962415715" sldId="751"/>
        </pc:sldMkLst>
        <pc:picChg chg="del">
          <ac:chgData name="Aleena Lida Surenian" userId="S::als0813@ads.northwestern.edu::e2fd0e4e-6417-49b0-ab16-0ba26a1719f0" providerId="AD" clId="Web-{14E50F44-A0DD-F06F-D610-3C24E6CFA255}" dt="2023-04-11T13:15:38.851" v="12"/>
          <ac:picMkLst>
            <pc:docMk/>
            <pc:sldMk cId="3962415715" sldId="751"/>
            <ac:picMk id="3" creationId="{FDCF350D-B1B4-5832-DEB6-09EBE4CBA73A}"/>
          </ac:picMkLst>
        </pc:picChg>
        <pc:picChg chg="add mod">
          <ac:chgData name="Aleena Lida Surenian" userId="S::als0813@ads.northwestern.edu::e2fd0e4e-6417-49b0-ab16-0ba26a1719f0" providerId="AD" clId="Web-{14E50F44-A0DD-F06F-D610-3C24E6CFA255}" dt="2023-04-11T13:16:12.070" v="16" actId="1076"/>
          <ac:picMkLst>
            <pc:docMk/>
            <pc:sldMk cId="3962415715" sldId="751"/>
            <ac:picMk id="4" creationId="{42EC833A-0C4C-2870-1D69-E191B7A2E654}"/>
          </ac:picMkLst>
        </pc:picChg>
      </pc:sldChg>
      <pc:sldMasterChg chg="modSldLayout">
        <pc:chgData name="Aleena Lida Surenian" userId="S::als0813@ads.northwestern.edu::e2fd0e4e-6417-49b0-ab16-0ba26a1719f0" providerId="AD" clId="Web-{14E50F44-A0DD-F06F-D610-3C24E6CFA255}" dt="2023-04-11T13:02:57.567" v="6"/>
        <pc:sldMasterMkLst>
          <pc:docMk/>
          <pc:sldMasterMk cId="0" sldId="2147483648"/>
        </pc:sldMasterMkLst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0" sldId="2147483648"/>
            <pc:sldLayoutMk cId="0" sldId="2147484774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0" sldId="2147483648"/>
            <pc:sldLayoutMk cId="0" sldId="2147484775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0" sldId="2147483648"/>
            <pc:sldLayoutMk cId="0" sldId="2147484776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0" sldId="2147483648"/>
            <pc:sldLayoutMk cId="0" sldId="2147484777"/>
          </pc:sldLayoutMkLst>
        </pc:sldLayoutChg>
      </pc:sldMasterChg>
      <pc:sldMasterChg chg="addSldLayout modSldLayout">
        <pc:chgData name="Aleena Lida Surenian" userId="S::als0813@ads.northwestern.edu::e2fd0e4e-6417-49b0-ab16-0ba26a1719f0" providerId="AD" clId="Web-{14E50F44-A0DD-F06F-D610-3C24E6CFA255}" dt="2023-04-11T13:02:57.567" v="6"/>
        <pc:sldMasterMkLst>
          <pc:docMk/>
          <pc:sldMasterMk cId="989504779" sldId="2147483734"/>
        </pc:sldMasterMkLst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30801759" sldId="214748366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09868767" sldId="214748366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98157548" sldId="214748366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366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1337409" sldId="214748366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75216660" sldId="214748366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422401269" sldId="214748368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30801759" sldId="214748371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59781530" sldId="214748371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09868767" sldId="214748371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75216660" sldId="214748371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476272431" sldId="214748371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80140117" sldId="214748372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9320368" sldId="214748375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39295337" sldId="214748377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253572214" sldId="214748377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02549073" sldId="214748377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9320368" sldId="214748381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546532180" sldId="214748435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437652033" sldId="214748435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4103439267" sldId="214748435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377496322" sldId="214748435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847879164" sldId="214748435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479302691" sldId="214748435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435420318" sldId="214748436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665852557" sldId="214748436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855494103" sldId="214748436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98157548" sldId="214748436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05532739" sldId="214748436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58542806" sldId="214748436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967421487" sldId="214748437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83143663" sldId="214748437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220637423" sldId="214748437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10496501" sldId="214748437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10130633" sldId="214748437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698059872" sldId="214748437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98157548" sldId="214748437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476272431" sldId="214748437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69300124" sldId="214748437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80140117" sldId="214748437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4291076637" sldId="214748438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781420108" sldId="214748438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838803846" sldId="214748438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546898753" sldId="214748438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210091495" sldId="214748438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314599787" sldId="214748439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791682188" sldId="214748439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98148766" sldId="214748439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26228292" sldId="214748439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138240366" sldId="214748439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610812348" sldId="214748439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455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83420" sldId="214748457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629644005" sldId="214748735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732483557" sldId="214748738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69300124" sldId="214748814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14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803572776" sldId="214748816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339690513" sldId="214748816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30801759" sldId="214748816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09868767" sldId="214748816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17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75216660" sldId="214748817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59781530" sldId="214748817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375797758" sldId="214748817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4040902241" sldId="214748836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2979200564" sldId="214748836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36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377496322" sldId="214748836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365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758542806" sldId="214748836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72630080" sldId="214748837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195676063" sldId="214748837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37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1337409" sldId="214748837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9320368" sldId="214748837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10496501" sldId="214748837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10130633" sldId="214748837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698059872" sldId="214748837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610496501" sldId="214748837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10130633" sldId="214748837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698059872" sldId="2147488380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546532180" sldId="2147488381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980529727" sldId="2147488382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93753234" sldId="2147488383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430479694" sldId="2147488384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36500789" sldId="2147488385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91337409" sldId="214748838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82224325" sldId="214748838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476272431" sldId="2147488396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3069300124" sldId="2147488397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480140117" sldId="2147488398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059781530" sldId="2147488399"/>
          </pc:sldLayoutMkLst>
        </pc:sldLayoutChg>
        <pc:sldLayoutChg chg="ad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989504779" sldId="2147483734"/>
            <pc:sldLayoutMk cId="1855494103" sldId="2147488400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14E50F44-A0DD-F06F-D610-3C24E6CFA255}" dt="2023-04-11T13:02:57.567" v="6"/>
        <pc:sldMasterMkLst>
          <pc:docMk/>
          <pc:sldMasterMk cId="3521776840" sldId="2147483775"/>
        </pc:sldMasterMkLst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3521776840" sldId="2147483775"/>
            <pc:sldLayoutMk cId="3638401069" sldId="2147488366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3521776840" sldId="2147483775"/>
            <pc:sldLayoutMk cId="3599785886" sldId="2147488367"/>
          </pc:sldLayoutMkLst>
        </pc:sldLayoutChg>
        <pc:sldLayoutChg chg="replId">
          <pc:chgData name="Aleena Lida Surenian" userId="S::als0813@ads.northwestern.edu::e2fd0e4e-6417-49b0-ab16-0ba26a1719f0" providerId="AD" clId="Web-{14E50F44-A0DD-F06F-D610-3C24E6CFA255}" dt="2023-04-11T13:02:57.567" v="6"/>
          <pc:sldLayoutMkLst>
            <pc:docMk/>
            <pc:sldMasterMk cId="3521776840" sldId="2147483775"/>
            <pc:sldLayoutMk cId="1392845063" sldId="2147488368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CA9844AE-F6A9-C767-55D2-04D76D845032}"/>
    <pc:docChg chg="addSld delSld modSld">
      <pc:chgData name="Aleena Lida Surenian" userId="S::als0813@ads.northwestern.edu::e2fd0e4e-6417-49b0-ab16-0ba26a1719f0" providerId="AD" clId="Web-{CA9844AE-F6A9-C767-55D2-04D76D845032}" dt="2023-03-21T20:25:53.532" v="126" actId="1076"/>
      <pc:docMkLst>
        <pc:docMk/>
      </pc:docMkLst>
      <pc:sldChg chg="modCm">
        <pc:chgData name="Aleena Lida Surenian" userId="S::als0813@ads.northwestern.edu::e2fd0e4e-6417-49b0-ab16-0ba26a1719f0" providerId="AD" clId="Web-{CA9844AE-F6A9-C767-55D2-04D76D845032}" dt="2023-03-21T20:08:45.961" v="6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eena Lida Surenian" userId="S::als0813@ads.northwestern.edu::e2fd0e4e-6417-49b0-ab16-0ba26a1719f0" providerId="AD" clId="Web-{CA9844AE-F6A9-C767-55D2-04D76D845032}" dt="2023-03-21T20:08:45.961" v="6"/>
              <pc2:cmMkLst xmlns:pc2="http://schemas.microsoft.com/office/powerpoint/2019/9/main/command">
                <pc:docMk/>
                <pc:sldMk cId="2371520634" sldId="631"/>
                <pc2:cmMk id="{DCB0E427-24C4-48A0-96AE-20541F8B8ECC}"/>
              </pc2:cmMkLst>
            </pc226:cmChg>
          </p:ext>
        </pc:extLst>
      </pc:sldChg>
      <pc:sldChg chg="modSp">
        <pc:chgData name="Aleena Lida Surenian" userId="S::als0813@ads.northwestern.edu::e2fd0e4e-6417-49b0-ab16-0ba26a1719f0" providerId="AD" clId="Web-{CA9844AE-F6A9-C767-55D2-04D76D845032}" dt="2023-03-21T20:07:08.177" v="5" actId="20577"/>
        <pc:sldMkLst>
          <pc:docMk/>
          <pc:sldMk cId="196190430" sldId="645"/>
        </pc:sldMkLst>
        <pc:spChg chg="mod">
          <ac:chgData name="Aleena Lida Surenian" userId="S::als0813@ads.northwestern.edu::e2fd0e4e-6417-49b0-ab16-0ba26a1719f0" providerId="AD" clId="Web-{CA9844AE-F6A9-C767-55D2-04D76D845032}" dt="2023-03-21T20:07:08.177" v="5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modSp">
        <pc:chgData name="Aleena Lida Surenian" userId="S::als0813@ads.northwestern.edu::e2fd0e4e-6417-49b0-ab16-0ba26a1719f0" providerId="AD" clId="Web-{CA9844AE-F6A9-C767-55D2-04D76D845032}" dt="2023-03-21T20:11:18.230" v="26" actId="1076"/>
        <pc:sldMkLst>
          <pc:docMk/>
          <pc:sldMk cId="2179344909" sldId="667"/>
        </pc:sldMkLst>
        <pc:graphicFrameChg chg="mod modGraphic">
          <ac:chgData name="Aleena Lida Surenian" userId="S::als0813@ads.northwestern.edu::e2fd0e4e-6417-49b0-ab16-0ba26a1719f0" providerId="AD" clId="Web-{CA9844AE-F6A9-C767-55D2-04D76D845032}" dt="2023-03-21T20:11:18.230" v="26" actId="1076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del">
        <pc:chgData name="Aleena Lida Surenian" userId="S::als0813@ads.northwestern.edu::e2fd0e4e-6417-49b0-ab16-0ba26a1719f0" providerId="AD" clId="Web-{CA9844AE-F6A9-C767-55D2-04D76D845032}" dt="2023-03-21T20:09:11.336" v="13"/>
        <pc:sldMkLst>
          <pc:docMk/>
          <pc:sldMk cId="872415970" sldId="697"/>
        </pc:sldMkLst>
      </pc:sldChg>
      <pc:sldChg chg="addSp modSp">
        <pc:chgData name="Aleena Lida Surenian" userId="S::als0813@ads.northwestern.edu::e2fd0e4e-6417-49b0-ab16-0ba26a1719f0" providerId="AD" clId="Web-{CA9844AE-F6A9-C767-55D2-04D76D845032}" dt="2023-03-21T20:25:53.532" v="126" actId="1076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CA9844AE-F6A9-C767-55D2-04D76D845032}" dt="2023-03-21T20:25:12.609" v="113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CA9844AE-F6A9-C767-55D2-04D76D845032}" dt="2023-03-21T20:25:32.126" v="121" actId="20577"/>
          <ac:spMkLst>
            <pc:docMk/>
            <pc:sldMk cId="3682438970" sldId="698"/>
            <ac:spMk id="7" creationId="{E0DDD91A-F49B-E7FA-F65F-DEF38C972D7B}"/>
          </ac:spMkLst>
        </pc:spChg>
        <pc:picChg chg="add mod">
          <ac:chgData name="Aleena Lida Surenian" userId="S::als0813@ads.northwestern.edu::e2fd0e4e-6417-49b0-ab16-0ba26a1719f0" providerId="AD" clId="Web-{CA9844AE-F6A9-C767-55D2-04D76D845032}" dt="2023-03-21T20:25:46.329" v="124" actId="1076"/>
          <ac:picMkLst>
            <pc:docMk/>
            <pc:sldMk cId="3682438970" sldId="698"/>
            <ac:picMk id="8" creationId="{E51EDDD0-61BE-290D-1CC8-6CEE28DB2FD0}"/>
          </ac:picMkLst>
        </pc:picChg>
        <pc:picChg chg="add mod">
          <ac:chgData name="Aleena Lida Surenian" userId="S::als0813@ads.northwestern.edu::e2fd0e4e-6417-49b0-ab16-0ba26a1719f0" providerId="AD" clId="Web-{CA9844AE-F6A9-C767-55D2-04D76D845032}" dt="2023-03-21T20:25:53.532" v="126" actId="1076"/>
          <ac:picMkLst>
            <pc:docMk/>
            <pc:sldMk cId="3682438970" sldId="698"/>
            <ac:picMk id="10" creationId="{E6C7060A-4A80-9065-F485-FF2EFB2A3E04}"/>
          </ac:picMkLst>
        </pc:picChg>
      </pc:sldChg>
      <pc:sldChg chg="modSp">
        <pc:chgData name="Aleena Lida Surenian" userId="S::als0813@ads.northwestern.edu::e2fd0e4e-6417-49b0-ab16-0ba26a1719f0" providerId="AD" clId="Web-{CA9844AE-F6A9-C767-55D2-04D76D845032}" dt="2023-03-21T20:21:16.901" v="98" actId="20577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CA9844AE-F6A9-C767-55D2-04D76D845032}" dt="2023-03-21T20:21:11.322" v="97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CA9844AE-F6A9-C767-55D2-04D76D845032}" dt="2023-03-21T20:21:16.901" v="98" actId="20577"/>
          <ac:spMkLst>
            <pc:docMk/>
            <pc:sldMk cId="149255822" sldId="700"/>
            <ac:spMk id="6" creationId="{1B118A30-D372-1791-AC9D-F862CEE17DE5}"/>
          </ac:spMkLst>
        </pc:spChg>
        <pc:picChg chg="mod">
          <ac:chgData name="Aleena Lida Surenian" userId="S::als0813@ads.northwestern.edu::e2fd0e4e-6417-49b0-ab16-0ba26a1719f0" providerId="AD" clId="Web-{CA9844AE-F6A9-C767-55D2-04D76D845032}" dt="2023-03-21T20:17:46.271" v="68" actId="1076"/>
          <ac:picMkLst>
            <pc:docMk/>
            <pc:sldMk cId="149255822" sldId="700"/>
            <ac:picMk id="9" creationId="{CB7B6C7E-057D-FFCA-6E8D-0886B11D8A3D}"/>
          </ac:picMkLst>
        </pc:picChg>
      </pc:sldChg>
      <pc:sldChg chg="del">
        <pc:chgData name="Aleena Lida Surenian" userId="S::als0813@ads.northwestern.edu::e2fd0e4e-6417-49b0-ab16-0ba26a1719f0" providerId="AD" clId="Web-{CA9844AE-F6A9-C767-55D2-04D76D845032}" dt="2023-03-21T20:09:00.617" v="7"/>
        <pc:sldMkLst>
          <pc:docMk/>
          <pc:sldMk cId="1545632957" sldId="729"/>
        </pc:sldMkLst>
      </pc:sldChg>
      <pc:sldChg chg="del">
        <pc:chgData name="Aleena Lida Surenian" userId="S::als0813@ads.northwestern.edu::e2fd0e4e-6417-49b0-ab16-0ba26a1719f0" providerId="AD" clId="Web-{CA9844AE-F6A9-C767-55D2-04D76D845032}" dt="2023-03-21T20:09:12.149" v="14"/>
        <pc:sldMkLst>
          <pc:docMk/>
          <pc:sldMk cId="2190146337" sldId="730"/>
        </pc:sldMkLst>
      </pc:sldChg>
      <pc:sldChg chg="modSp">
        <pc:chgData name="Aleena Lida Surenian" userId="S::als0813@ads.northwestern.edu::e2fd0e4e-6417-49b0-ab16-0ba26a1719f0" providerId="AD" clId="Web-{CA9844AE-F6A9-C767-55D2-04D76D845032}" dt="2023-03-21T20:09:55.993" v="18" actId="1076"/>
        <pc:sldMkLst>
          <pc:docMk/>
          <pc:sldMk cId="1539759889" sldId="731"/>
        </pc:sldMkLst>
        <pc:spChg chg="mod">
          <ac:chgData name="Aleena Lida Surenian" userId="S::als0813@ads.northwestern.edu::e2fd0e4e-6417-49b0-ab16-0ba26a1719f0" providerId="AD" clId="Web-{CA9844AE-F6A9-C767-55D2-04D76D845032}" dt="2023-03-21T20:09:53.681" v="17" actId="20577"/>
          <ac:spMkLst>
            <pc:docMk/>
            <pc:sldMk cId="1539759889" sldId="731"/>
            <ac:spMk id="1394" creationId="{D75A4002-0483-628B-583D-A13402C2A574}"/>
          </ac:spMkLst>
        </pc:spChg>
        <pc:picChg chg="mod">
          <ac:chgData name="Aleena Lida Surenian" userId="S::als0813@ads.northwestern.edu::e2fd0e4e-6417-49b0-ab16-0ba26a1719f0" providerId="AD" clId="Web-{CA9844AE-F6A9-C767-55D2-04D76D845032}" dt="2023-03-21T20:09:55.993" v="18" actId="1076"/>
          <ac:picMkLst>
            <pc:docMk/>
            <pc:sldMk cId="1539759889" sldId="731"/>
            <ac:picMk id="1028" creationId="{CE9F3C7A-7DD1-7217-67A6-032F043A85BB}"/>
          </ac:picMkLst>
        </pc:picChg>
      </pc:sldChg>
      <pc:sldChg chg="del">
        <pc:chgData name="Aleena Lida Surenian" userId="S::als0813@ads.northwestern.edu::e2fd0e4e-6417-49b0-ab16-0ba26a1719f0" providerId="AD" clId="Web-{CA9844AE-F6A9-C767-55D2-04D76D845032}" dt="2023-03-21T20:09:05.055" v="8"/>
        <pc:sldMkLst>
          <pc:docMk/>
          <pc:sldMk cId="3865427998" sldId="732"/>
        </pc:sldMkLst>
      </pc:sldChg>
      <pc:sldChg chg="del">
        <pc:chgData name="Aleena Lida Surenian" userId="S::als0813@ads.northwestern.edu::e2fd0e4e-6417-49b0-ab16-0ba26a1719f0" providerId="AD" clId="Web-{CA9844AE-F6A9-C767-55D2-04D76D845032}" dt="2023-03-21T20:09:05.164" v="9"/>
        <pc:sldMkLst>
          <pc:docMk/>
          <pc:sldMk cId="1062421072" sldId="733"/>
        </pc:sldMkLst>
      </pc:sldChg>
      <pc:sldChg chg="del">
        <pc:chgData name="Aleena Lida Surenian" userId="S::als0813@ads.northwestern.edu::e2fd0e4e-6417-49b0-ab16-0ba26a1719f0" providerId="AD" clId="Web-{CA9844AE-F6A9-C767-55D2-04D76D845032}" dt="2023-03-21T20:09:06.227" v="10"/>
        <pc:sldMkLst>
          <pc:docMk/>
          <pc:sldMk cId="1910128735" sldId="734"/>
        </pc:sldMkLst>
      </pc:sldChg>
      <pc:sldChg chg="del">
        <pc:chgData name="Aleena Lida Surenian" userId="S::als0813@ads.northwestern.edu::e2fd0e4e-6417-49b0-ab16-0ba26a1719f0" providerId="AD" clId="Web-{CA9844AE-F6A9-C767-55D2-04D76D845032}" dt="2023-03-21T20:09:07.758" v="12"/>
        <pc:sldMkLst>
          <pc:docMk/>
          <pc:sldMk cId="4107287562" sldId="735"/>
        </pc:sldMkLst>
      </pc:sldChg>
      <pc:sldChg chg="del">
        <pc:chgData name="Aleena Lida Surenian" userId="S::als0813@ads.northwestern.edu::e2fd0e4e-6417-49b0-ab16-0ba26a1719f0" providerId="AD" clId="Web-{CA9844AE-F6A9-C767-55D2-04D76D845032}" dt="2023-03-21T20:09:07.492" v="11"/>
        <pc:sldMkLst>
          <pc:docMk/>
          <pc:sldMk cId="2311745026" sldId="736"/>
        </pc:sldMkLst>
      </pc:sldChg>
      <pc:sldChg chg="add">
        <pc:chgData name="Aleena Lida Surenian" userId="S::als0813@ads.northwestern.edu::e2fd0e4e-6417-49b0-ab16-0ba26a1719f0" providerId="AD" clId="Web-{CA9844AE-F6A9-C767-55D2-04D76D845032}" dt="2023-03-21T20:09:41.243" v="15"/>
        <pc:sldMkLst>
          <pc:docMk/>
          <pc:sldMk cId="1475128568" sldId="743"/>
        </pc:sldMkLst>
      </pc:sldChg>
    </pc:docChg>
  </pc:docChgLst>
  <pc:docChgLst>
    <pc:chgData name="Alana Rivera" userId="S::arg3669@ads.northwestern.edu::fc8b707a-b7e9-4f2a-8d71-2d76819b7881" providerId="AD" clId="Web-{AE1BEFE3-9885-DCBD-0640-9D7029AA6709}"/>
    <pc:docChg chg="modSld">
      <pc:chgData name="Alana Rivera" userId="S::arg3669@ads.northwestern.edu::fc8b707a-b7e9-4f2a-8d71-2d76819b7881" providerId="AD" clId="Web-{AE1BEFE3-9885-DCBD-0640-9D7029AA6709}" dt="2023-03-06T15:48:09.984" v="95" actId="20577"/>
      <pc:docMkLst>
        <pc:docMk/>
      </pc:docMkLst>
      <pc:sldChg chg="modCm">
        <pc:chgData name="Alana Rivera" userId="S::arg3669@ads.northwestern.edu::fc8b707a-b7e9-4f2a-8d71-2d76819b7881" providerId="AD" clId="Web-{AE1BEFE3-9885-DCBD-0640-9D7029AA6709}" dt="2023-03-06T15:37:16.793" v="2"/>
        <pc:sldMkLst>
          <pc:docMk/>
          <pc:sldMk cId="3589410507" sldId="60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ana Rivera" userId="S::arg3669@ads.northwestern.edu::fc8b707a-b7e9-4f2a-8d71-2d76819b7881" providerId="AD" clId="Web-{AE1BEFE3-9885-DCBD-0640-9D7029AA6709}" dt="2023-03-06T15:37:16.793" v="2"/>
              <pc2:cmMkLst xmlns:pc2="http://schemas.microsoft.com/office/powerpoint/2019/9/main/command">
                <pc:docMk/>
                <pc:sldMk cId="3589410507" sldId="600"/>
                <pc2:cmMk id="{69ECD05A-4A2D-4918-BEAF-151AF4FE08B4}"/>
              </pc2:cmMkLst>
            </pc226:cmChg>
          </p:ext>
        </pc:extLst>
      </pc:sldChg>
      <pc:sldChg chg="modCm">
        <pc:chgData name="Alana Rivera" userId="S::arg3669@ads.northwestern.edu::fc8b707a-b7e9-4f2a-8d71-2d76819b7881" providerId="AD" clId="Web-{AE1BEFE3-9885-DCBD-0640-9D7029AA6709}" dt="2023-03-06T15:38:55.406" v="14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lana Rivera" userId="S::arg3669@ads.northwestern.edu::fc8b707a-b7e9-4f2a-8d71-2d76819b7881" providerId="AD" clId="Web-{AE1BEFE3-9885-DCBD-0640-9D7029AA6709}" dt="2023-03-06T15:38:55.406" v="14"/>
              <pc2:cmMkLst xmlns:pc2="http://schemas.microsoft.com/office/powerpoint/2019/9/main/command">
                <pc:docMk/>
                <pc:sldMk cId="2371520634" sldId="631"/>
                <pc2:cmMk id="{53BF2EEF-F2EB-4709-B060-56F1BED2ED20}"/>
              </pc2:cmMkLst>
            </pc226:cmChg>
          </p:ext>
        </pc:extLst>
      </pc:sldChg>
      <pc:sldChg chg="addSp delSp modSp">
        <pc:chgData name="Alana Rivera" userId="S::arg3669@ads.northwestern.edu::fc8b707a-b7e9-4f2a-8d71-2d76819b7881" providerId="AD" clId="Web-{AE1BEFE3-9885-DCBD-0640-9D7029AA6709}" dt="2023-03-06T15:36:37.995" v="1"/>
        <pc:sldMkLst>
          <pc:docMk/>
          <pc:sldMk cId="2969493686" sldId="635"/>
        </pc:sldMkLst>
        <pc:spChg chg="mod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" creationId="{0C90A595-FD3D-B3D6-8199-F786D57CE5F8}"/>
          </ac:spMkLst>
        </pc:spChg>
        <pc:spChg chg="mod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3" creationId="{7B432F18-15BD-AE55-507E-EFD9F0E41A26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9" creationId="{C1DD1A8A-57D5-4A81-AD04-532B043C5611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11" creationId="{007891EC-4501-44ED-A8C8-B11B6DB767AB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16" creationId="{73BCEA90-F7D5-4EC1-9BE2-5A49A20F4B1D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18" creationId="{9848F91B-FA65-4A06-A177-8CCF7EBC8631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0" creationId="{2CF7CF5F-D747-47B3-80B1-8392750446C6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2" creationId="{820B6604-1FF9-43F5-AC47-3D41CB2F563B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4" creationId="{D98779F6-5395-4B82-BDCB-4ADF6A5BB9E5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6" creationId="{CE1108CD-786E-4304-9504-9C5AD64829D2}"/>
          </ac:spMkLst>
        </pc:spChg>
        <pc:spChg chg="add del">
          <ac:chgData name="Alana Rivera" userId="S::arg3669@ads.northwestern.edu::fc8b707a-b7e9-4f2a-8d71-2d76819b7881" providerId="AD" clId="Web-{AE1BEFE3-9885-DCBD-0640-9D7029AA6709}" dt="2023-03-06T15:36:37.995" v="1"/>
          <ac:spMkLst>
            <pc:docMk/>
            <pc:sldMk cId="2969493686" sldId="635"/>
            <ac:spMk id="28" creationId="{C70191CD-D48F-4F7A-8077-0380603A29E2}"/>
          </ac:spMkLst>
        </pc:spChg>
        <pc:picChg chg="mod">
          <ac:chgData name="Alana Rivera" userId="S::arg3669@ads.northwestern.edu::fc8b707a-b7e9-4f2a-8d71-2d76819b7881" providerId="AD" clId="Web-{AE1BEFE3-9885-DCBD-0640-9D7029AA6709}" dt="2023-03-06T15:36:37.995" v="1"/>
          <ac:picMkLst>
            <pc:docMk/>
            <pc:sldMk cId="2969493686" sldId="635"/>
            <ac:picMk id="5" creationId="{7A166286-8BE5-F739-BB28-B81644C3153D}"/>
          </ac:picMkLst>
        </pc:picChg>
      </pc:sldChg>
      <pc:sldChg chg="modSp">
        <pc:chgData name="Alana Rivera" userId="S::arg3669@ads.northwestern.edu::fc8b707a-b7e9-4f2a-8d71-2d76819b7881" providerId="AD" clId="Web-{AE1BEFE3-9885-DCBD-0640-9D7029AA6709}" dt="2023-03-06T15:41:56.661" v="39"/>
        <pc:sldMkLst>
          <pc:docMk/>
          <pc:sldMk cId="2179344909" sldId="667"/>
        </pc:sldMkLst>
        <pc:graphicFrameChg chg="mod modGraphic">
          <ac:chgData name="Alana Rivera" userId="S::arg3669@ads.northwestern.edu::fc8b707a-b7e9-4f2a-8d71-2d76819b7881" providerId="AD" clId="Web-{AE1BEFE3-9885-DCBD-0640-9D7029AA6709}" dt="2023-03-06T15:41:56.661" v="39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addSp delSp modSp">
        <pc:chgData name="Alana Rivera" userId="S::arg3669@ads.northwestern.edu::fc8b707a-b7e9-4f2a-8d71-2d76819b7881" providerId="AD" clId="Web-{AE1BEFE3-9885-DCBD-0640-9D7029AA6709}" dt="2023-03-06T15:38:21.842" v="13"/>
        <pc:sldMkLst>
          <pc:docMk/>
          <pc:sldMk cId="1618859033" sldId="693"/>
        </pc:sldMkLst>
        <pc:spChg chg="del">
          <ac:chgData name="Alana Rivera" userId="S::arg3669@ads.northwestern.edu::fc8b707a-b7e9-4f2a-8d71-2d76819b7881" providerId="AD" clId="Web-{AE1BEFE3-9885-DCBD-0640-9D7029AA6709}" dt="2023-03-06T15:37:42.107" v="4"/>
          <ac:spMkLst>
            <pc:docMk/>
            <pc:sldMk cId="1618859033" sldId="693"/>
            <ac:spMk id="7" creationId="{DA88AE01-AA51-E8EB-9D93-9D5E47CBCB06}"/>
          </ac:spMkLst>
        </pc:spChg>
        <pc:spChg chg="del">
          <ac:chgData name="Alana Rivera" userId="S::arg3669@ads.northwestern.edu::fc8b707a-b7e9-4f2a-8d71-2d76819b7881" providerId="AD" clId="Web-{AE1BEFE3-9885-DCBD-0640-9D7029AA6709}" dt="2023-03-06T15:37:39.591" v="3"/>
          <ac:spMkLst>
            <pc:docMk/>
            <pc:sldMk cId="1618859033" sldId="693"/>
            <ac:spMk id="8" creationId="{364B7413-605B-0770-7B77-40A137AAD037}"/>
          </ac:spMkLst>
        </pc:spChg>
        <pc:picChg chg="add del mod">
          <ac:chgData name="Alana Rivera" userId="S::arg3669@ads.northwestern.edu::fc8b707a-b7e9-4f2a-8d71-2d76819b7881" providerId="AD" clId="Web-{AE1BEFE3-9885-DCBD-0640-9D7029AA6709}" dt="2023-03-06T15:38:21.842" v="13"/>
          <ac:picMkLst>
            <pc:docMk/>
            <pc:sldMk cId="1618859033" sldId="693"/>
            <ac:picMk id="3" creationId="{CD841EE6-3EAA-38BA-F5F7-A28A4D95ED71}"/>
          </ac:picMkLst>
        </pc:picChg>
        <pc:picChg chg="add mod">
          <ac:chgData name="Alana Rivera" userId="S::arg3669@ads.northwestern.edu::fc8b707a-b7e9-4f2a-8d71-2d76819b7881" providerId="AD" clId="Web-{AE1BEFE3-9885-DCBD-0640-9D7029AA6709}" dt="2023-03-06T15:38:19.311" v="12" actId="1076"/>
          <ac:picMkLst>
            <pc:docMk/>
            <pc:sldMk cId="1618859033" sldId="693"/>
            <ac:picMk id="9" creationId="{F5FEF95E-8A79-35EE-7802-6AD0DC55B818}"/>
          </ac:picMkLst>
        </pc:picChg>
      </pc:sldChg>
      <pc:sldChg chg="addSp delSp modSp">
        <pc:chgData name="Alana Rivera" userId="S::arg3669@ads.northwestern.edu::fc8b707a-b7e9-4f2a-8d71-2d76819b7881" providerId="AD" clId="Web-{AE1BEFE3-9885-DCBD-0640-9D7029AA6709}" dt="2023-03-06T15:41:38.535" v="37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AE1BEFE3-9885-DCBD-0640-9D7029AA6709}" dt="2023-03-06T15:40:53.800" v="31" actId="20577"/>
          <ac:spMkLst>
            <pc:docMk/>
            <pc:sldMk cId="3682438970" sldId="698"/>
            <ac:spMk id="3" creationId="{1419A524-96F5-A0B2-CACE-F9567471AB2E}"/>
          </ac:spMkLst>
        </pc:spChg>
        <pc:spChg chg="mod">
          <ac:chgData name="Alana Rivera" userId="S::arg3669@ads.northwestern.edu::fc8b707a-b7e9-4f2a-8d71-2d76819b7881" providerId="AD" clId="Web-{AE1BEFE3-9885-DCBD-0640-9D7029AA6709}" dt="2023-03-06T15:41:21.785" v="34" actId="20577"/>
          <ac:spMkLst>
            <pc:docMk/>
            <pc:sldMk cId="3682438970" sldId="698"/>
            <ac:spMk id="7" creationId="{E0DDD91A-F49B-E7FA-F65F-DEF38C972D7B}"/>
          </ac:spMkLst>
        </pc:spChg>
        <pc:picChg chg="add del mod">
          <ac:chgData name="Alana Rivera" userId="S::arg3669@ads.northwestern.edu::fc8b707a-b7e9-4f2a-8d71-2d76819b7881" providerId="AD" clId="Web-{AE1BEFE3-9885-DCBD-0640-9D7029AA6709}" dt="2023-03-06T15:41:38.535" v="37"/>
          <ac:picMkLst>
            <pc:docMk/>
            <pc:sldMk cId="3682438970" sldId="698"/>
            <ac:picMk id="6" creationId="{4ADA0DBB-614E-F900-DE75-B5746A0C9387}"/>
          </ac:picMkLst>
        </pc:picChg>
      </pc:sldChg>
      <pc:sldChg chg="addSp delSp modSp">
        <pc:chgData name="Alana Rivera" userId="S::arg3669@ads.northwestern.edu::fc8b707a-b7e9-4f2a-8d71-2d76819b7881" providerId="AD" clId="Web-{AE1BEFE3-9885-DCBD-0640-9D7029AA6709}" dt="2023-03-06T15:40:31.830" v="28" actId="1076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AE1BEFE3-9885-DCBD-0640-9D7029AA6709}" dt="2023-03-06T15:40:05.236" v="24" actId="20577"/>
          <ac:spMkLst>
            <pc:docMk/>
            <pc:sldMk cId="149255822" sldId="700"/>
            <ac:spMk id="3" creationId="{1419A524-96F5-A0B2-CACE-F9567471AB2E}"/>
          </ac:spMkLst>
        </pc:spChg>
        <pc:spChg chg="add del mod">
          <ac:chgData name="Alana Rivera" userId="S::arg3669@ads.northwestern.edu::fc8b707a-b7e9-4f2a-8d71-2d76819b7881" providerId="AD" clId="Web-{AE1BEFE3-9885-DCBD-0640-9D7029AA6709}" dt="2023-03-06T15:39:51.610" v="22" actId="1076"/>
          <ac:spMkLst>
            <pc:docMk/>
            <pc:sldMk cId="149255822" sldId="700"/>
            <ac:spMk id="6" creationId="{1B118A30-D372-1791-AC9D-F862CEE17DE5}"/>
          </ac:spMkLst>
        </pc:spChg>
        <pc:picChg chg="add mod">
          <ac:chgData name="Alana Rivera" userId="S::arg3669@ads.northwestern.edu::fc8b707a-b7e9-4f2a-8d71-2d76819b7881" providerId="AD" clId="Web-{AE1BEFE3-9885-DCBD-0640-9D7029AA6709}" dt="2023-03-06T15:40:18.267" v="26" actId="1076"/>
          <ac:picMkLst>
            <pc:docMk/>
            <pc:sldMk cId="149255822" sldId="700"/>
            <ac:picMk id="7" creationId="{10D9EF69-B6C8-237A-AC8D-4905C4100603}"/>
          </ac:picMkLst>
        </pc:picChg>
        <pc:picChg chg="add mod">
          <ac:chgData name="Alana Rivera" userId="S::arg3669@ads.northwestern.edu::fc8b707a-b7e9-4f2a-8d71-2d76819b7881" providerId="AD" clId="Web-{AE1BEFE3-9885-DCBD-0640-9D7029AA6709}" dt="2023-03-06T15:40:31.830" v="28" actId="1076"/>
          <ac:picMkLst>
            <pc:docMk/>
            <pc:sldMk cId="149255822" sldId="700"/>
            <ac:picMk id="8" creationId="{815893D1-2390-CFB0-6292-63903E4EBA1C}"/>
          </ac:picMkLst>
        </pc:picChg>
      </pc:sldChg>
      <pc:sldChg chg="modSp">
        <pc:chgData name="Alana Rivera" userId="S::arg3669@ads.northwestern.edu::fc8b707a-b7e9-4f2a-8d71-2d76819b7881" providerId="AD" clId="Web-{AE1BEFE3-9885-DCBD-0640-9D7029AA6709}" dt="2023-03-06T15:48:09.984" v="95" actId="20577"/>
        <pc:sldMkLst>
          <pc:docMk/>
          <pc:sldMk cId="3542226056" sldId="709"/>
        </pc:sldMkLst>
        <pc:spChg chg="mod">
          <ac:chgData name="Alana Rivera" userId="S::arg3669@ads.northwestern.edu::fc8b707a-b7e9-4f2a-8d71-2d76819b7881" providerId="AD" clId="Web-{AE1BEFE3-9885-DCBD-0640-9D7029AA6709}" dt="2023-03-06T15:48:09.984" v="95" actId="20577"/>
          <ac:spMkLst>
            <pc:docMk/>
            <pc:sldMk cId="3542226056" sldId="709"/>
            <ac:spMk id="6" creationId="{B486F3F2-F4E9-83AE-B2E9-9FB104A5F282}"/>
          </ac:spMkLst>
        </pc:spChg>
      </pc:sldChg>
      <pc:sldChg chg="addSp delSp modSp">
        <pc:chgData name="Alana Rivera" userId="S::arg3669@ads.northwestern.edu::fc8b707a-b7e9-4f2a-8d71-2d76819b7881" providerId="AD" clId="Web-{AE1BEFE3-9885-DCBD-0640-9D7029AA6709}" dt="2023-03-06T15:47:54.405" v="90"/>
        <pc:sldMkLst>
          <pc:docMk/>
          <pc:sldMk cId="1127716331" sldId="712"/>
        </pc:sldMkLst>
        <pc:picChg chg="add mod">
          <ac:chgData name="Alana Rivera" userId="S::arg3669@ads.northwestern.edu::fc8b707a-b7e9-4f2a-8d71-2d76819b7881" providerId="AD" clId="Web-{AE1BEFE3-9885-DCBD-0640-9D7029AA6709}" dt="2023-03-06T15:47:14.482" v="79" actId="1076"/>
          <ac:picMkLst>
            <pc:docMk/>
            <pc:sldMk cId="1127716331" sldId="712"/>
            <ac:picMk id="3" creationId="{34B99283-E1C2-B96D-2951-3D6429D7C493}"/>
          </ac:picMkLst>
        </pc:picChg>
        <pc:picChg chg="add mod">
          <ac:chgData name="Alana Rivera" userId="S::arg3669@ads.northwestern.edu::fc8b707a-b7e9-4f2a-8d71-2d76819b7881" providerId="AD" clId="Web-{AE1BEFE3-9885-DCBD-0640-9D7029AA6709}" dt="2023-03-06T15:47:26.108" v="81" actId="1076"/>
          <ac:picMkLst>
            <pc:docMk/>
            <pc:sldMk cId="1127716331" sldId="712"/>
            <ac:picMk id="6" creationId="{822187AE-FD99-9D88-3152-C7B63776BE90}"/>
          </ac:picMkLst>
        </pc:picChg>
        <pc:picChg chg="mod">
          <ac:chgData name="Alana Rivera" userId="S::arg3669@ads.northwestern.edu::fc8b707a-b7e9-4f2a-8d71-2d76819b7881" providerId="AD" clId="Web-{AE1BEFE3-9885-DCBD-0640-9D7029AA6709}" dt="2023-03-06T15:47:39.608" v="85" actId="1076"/>
          <ac:picMkLst>
            <pc:docMk/>
            <pc:sldMk cId="1127716331" sldId="712"/>
            <ac:picMk id="7" creationId="{2EA30075-0FD0-2EE4-94AE-DDF8C9483AC7}"/>
          </ac:picMkLst>
        </pc:picChg>
        <pc:picChg chg="add del">
          <ac:chgData name="Alana Rivera" userId="S::arg3669@ads.northwestern.edu::fc8b707a-b7e9-4f2a-8d71-2d76819b7881" providerId="AD" clId="Web-{AE1BEFE3-9885-DCBD-0640-9D7029AA6709}" dt="2023-03-06T15:47:54.405" v="90"/>
          <ac:picMkLst>
            <pc:docMk/>
            <pc:sldMk cId="1127716331" sldId="712"/>
            <ac:picMk id="8" creationId="{CA8DE997-1B22-2BEC-F8A8-48EDD1C18797}"/>
          </ac:picMkLst>
        </pc:picChg>
        <pc:picChg chg="add del mod">
          <ac:chgData name="Alana Rivera" userId="S::arg3669@ads.northwestern.edu::fc8b707a-b7e9-4f2a-8d71-2d76819b7881" providerId="AD" clId="Web-{AE1BEFE3-9885-DCBD-0640-9D7029AA6709}" dt="2023-03-06T15:47:52.515" v="89"/>
          <ac:picMkLst>
            <pc:docMk/>
            <pc:sldMk cId="1127716331" sldId="712"/>
            <ac:picMk id="9" creationId="{FD839442-84E9-2C8E-A6B6-725E254454BE}"/>
          </ac:picMkLst>
        </pc:picChg>
      </pc:sldChg>
      <pc:sldChg chg="addSp modSp">
        <pc:chgData name="Alana Rivera" userId="S::arg3669@ads.northwestern.edu::fc8b707a-b7e9-4f2a-8d71-2d76819b7881" providerId="AD" clId="Web-{AE1BEFE3-9885-DCBD-0640-9D7029AA6709}" dt="2023-03-06T15:46:47.825" v="77" actId="1076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AE1BEFE3-9885-DCBD-0640-9D7029AA6709}" dt="2023-03-06T15:42:26.271" v="71" actId="20577"/>
          <ac:spMkLst>
            <pc:docMk/>
            <pc:sldMk cId="1886867389" sldId="713"/>
            <ac:spMk id="3" creationId="{1419A524-96F5-A0B2-CACE-F9567471AB2E}"/>
          </ac:spMkLst>
        </pc:spChg>
        <pc:picChg chg="add mod">
          <ac:chgData name="Alana Rivera" userId="S::arg3669@ads.northwestern.edu::fc8b707a-b7e9-4f2a-8d71-2d76819b7881" providerId="AD" clId="Web-{AE1BEFE3-9885-DCBD-0640-9D7029AA6709}" dt="2023-03-06T15:42:35.787" v="73" actId="1076"/>
          <ac:picMkLst>
            <pc:docMk/>
            <pc:sldMk cId="1886867389" sldId="713"/>
            <ac:picMk id="6" creationId="{CE497C0F-D169-C490-0357-EA7E69A20515}"/>
          </ac:picMkLst>
        </pc:picChg>
        <pc:picChg chg="add mod">
          <ac:chgData name="Alana Rivera" userId="S::arg3669@ads.northwestern.edu::fc8b707a-b7e9-4f2a-8d71-2d76819b7881" providerId="AD" clId="Web-{AE1BEFE3-9885-DCBD-0640-9D7029AA6709}" dt="2023-03-06T15:42:47.162" v="75" actId="1076"/>
          <ac:picMkLst>
            <pc:docMk/>
            <pc:sldMk cId="1886867389" sldId="713"/>
            <ac:picMk id="7" creationId="{E1092D90-BA86-BC1E-DF46-979AA32015D6}"/>
          </ac:picMkLst>
        </pc:picChg>
        <pc:picChg chg="add mod">
          <ac:chgData name="Alana Rivera" userId="S::arg3669@ads.northwestern.edu::fc8b707a-b7e9-4f2a-8d71-2d76819b7881" providerId="AD" clId="Web-{AE1BEFE3-9885-DCBD-0640-9D7029AA6709}" dt="2023-03-06T15:46:47.825" v="77" actId="1076"/>
          <ac:picMkLst>
            <pc:docMk/>
            <pc:sldMk cId="1886867389" sldId="713"/>
            <ac:picMk id="8" creationId="{9E554027-CA68-8DA1-877A-11710E92B64E}"/>
          </ac:picMkLst>
        </pc:picChg>
      </pc:sldChg>
    </pc:docChg>
  </pc:docChgLst>
  <pc:docChgLst>
    <pc:chgData name="Kiela Karina Moreno" userId="S::mpg7143@ads.northwestern.edu::1e897b35-0dd4-497a-9ab7-7a37e6c39d5b" providerId="AD" clId="Web-{DE72A1C5-A926-969B-60AE-E01185119D5E}"/>
    <pc:docChg chg="modSld">
      <pc:chgData name="Kiela Karina Moreno" userId="S::mpg7143@ads.northwestern.edu::1e897b35-0dd4-497a-9ab7-7a37e6c39d5b" providerId="AD" clId="Web-{DE72A1C5-A926-969B-60AE-E01185119D5E}" dt="2024-02-29T17:03:46.292" v="0" actId="688"/>
      <pc:docMkLst>
        <pc:docMk/>
      </pc:docMkLst>
      <pc:sldChg chg="modSp">
        <pc:chgData name="Kiela Karina Moreno" userId="S::mpg7143@ads.northwestern.edu::1e897b35-0dd4-497a-9ab7-7a37e6c39d5b" providerId="AD" clId="Web-{DE72A1C5-A926-969B-60AE-E01185119D5E}" dt="2024-02-29T17:03:46.292" v="0" actId="688"/>
        <pc:sldMkLst>
          <pc:docMk/>
          <pc:sldMk cId="254191585" sldId="775"/>
        </pc:sldMkLst>
        <pc:spChg chg="mod">
          <ac:chgData name="Kiela Karina Moreno" userId="S::mpg7143@ads.northwestern.edu::1e897b35-0dd4-497a-9ab7-7a37e6c39d5b" providerId="AD" clId="Web-{DE72A1C5-A926-969B-60AE-E01185119D5E}" dt="2024-02-29T17:03:46.292" v="0" actId="688"/>
          <ac:spMkLst>
            <pc:docMk/>
            <pc:sldMk cId="254191585" sldId="775"/>
            <ac:spMk id="7" creationId="{2CA27773-1202-54D2-AF68-935146AF3365}"/>
          </ac:spMkLst>
        </pc:spChg>
      </pc:sldChg>
    </pc:docChg>
  </pc:docChgLst>
  <pc:docChgLst>
    <pc:chgData name="Alana Rivera" userId="S::arg3669@ads.northwestern.edu::fc8b707a-b7e9-4f2a-8d71-2d76819b7881" providerId="AD" clId="Web-{A4E83A4D-6CD8-63E3-F718-DEF74BA51E3D}"/>
    <pc:docChg chg="modSld">
      <pc:chgData name="Alana Rivera" userId="S::arg3669@ads.northwestern.edu::fc8b707a-b7e9-4f2a-8d71-2d76819b7881" providerId="AD" clId="Web-{A4E83A4D-6CD8-63E3-F718-DEF74BA51E3D}" dt="2023-03-23T21:02:34.682" v="1" actId="20577"/>
      <pc:docMkLst>
        <pc:docMk/>
      </pc:docMkLst>
      <pc:sldChg chg="modSp">
        <pc:chgData name="Alana Rivera" userId="S::arg3669@ads.northwestern.edu::fc8b707a-b7e9-4f2a-8d71-2d76819b7881" providerId="AD" clId="Web-{A4E83A4D-6CD8-63E3-F718-DEF74BA51E3D}" dt="2023-03-23T21:02:34.682" v="1" actId="20577"/>
        <pc:sldMkLst>
          <pc:docMk/>
          <pc:sldMk cId="1833157681" sldId="725"/>
        </pc:sldMkLst>
        <pc:spChg chg="mod">
          <ac:chgData name="Alana Rivera" userId="S::arg3669@ads.northwestern.edu::fc8b707a-b7e9-4f2a-8d71-2d76819b7881" providerId="AD" clId="Web-{A4E83A4D-6CD8-63E3-F718-DEF74BA51E3D}" dt="2023-03-23T21:02:34.682" v="1" actId="20577"/>
          <ac:spMkLst>
            <pc:docMk/>
            <pc:sldMk cId="1833157681" sldId="725"/>
            <ac:spMk id="3" creationId="{7E810696-393B-C436-C4FA-9D5525B361C4}"/>
          </ac:spMkLst>
        </pc:spChg>
      </pc:sldChg>
    </pc:docChg>
  </pc:docChgLst>
  <pc:docChgLst>
    <pc:chgData name="Kiela Karina Moreno" userId="S::mpg7143@ads.northwestern.edu::1e897b35-0dd4-497a-9ab7-7a37e6c39d5b" providerId="AD" clId="Web-{5DC7D1E6-E55B-9B39-8A77-AF997EEF09CC}"/>
    <pc:docChg chg="modSld">
      <pc:chgData name="Kiela Karina Moreno" userId="S::mpg7143@ads.northwestern.edu::1e897b35-0dd4-497a-9ab7-7a37e6c39d5b" providerId="AD" clId="Web-{5DC7D1E6-E55B-9B39-8A77-AF997EEF09CC}" dt="2024-02-28T16:59:30.669" v="0" actId="14100"/>
      <pc:docMkLst>
        <pc:docMk/>
      </pc:docMkLst>
      <pc:sldChg chg="modSp">
        <pc:chgData name="Kiela Karina Moreno" userId="S::mpg7143@ads.northwestern.edu::1e897b35-0dd4-497a-9ab7-7a37e6c39d5b" providerId="AD" clId="Web-{5DC7D1E6-E55B-9B39-8A77-AF997EEF09CC}" dt="2024-02-28T16:59:30.669" v="0" actId="14100"/>
        <pc:sldMkLst>
          <pc:docMk/>
          <pc:sldMk cId="1805206964" sldId="811"/>
        </pc:sldMkLst>
        <pc:spChg chg="mod">
          <ac:chgData name="Kiela Karina Moreno" userId="S::mpg7143@ads.northwestern.edu::1e897b35-0dd4-497a-9ab7-7a37e6c39d5b" providerId="AD" clId="Web-{5DC7D1E6-E55B-9B39-8A77-AF997EEF09CC}" dt="2024-02-28T16:59:30.669" v="0" actId="14100"/>
          <ac:spMkLst>
            <pc:docMk/>
            <pc:sldMk cId="1805206964" sldId="811"/>
            <ac:spMk id="2" creationId="{1E79CB01-8D8F-54BE-C7AE-A200EBD655FB}"/>
          </ac:spMkLst>
        </pc:spChg>
      </pc:sldChg>
    </pc:docChg>
  </pc:docChgLst>
  <pc:docChgLst>
    <pc:chgData name="Alana Rivera" userId="S::arg3669@ads.northwestern.edu::fc8b707a-b7e9-4f2a-8d71-2d76819b7881" providerId="AD" clId="Web-{A2BBF3AA-3DF7-D95C-3A8A-EFE75A763B08}"/>
    <pc:docChg chg="addSld delSld modSld sldOrd addMainMaster modMainMaster">
      <pc:chgData name="Alana Rivera" userId="S::arg3669@ads.northwestern.edu::fc8b707a-b7e9-4f2a-8d71-2d76819b7881" providerId="AD" clId="Web-{A2BBF3AA-3DF7-D95C-3A8A-EFE75A763B08}" dt="2024-01-11T04:23:28.005" v="503"/>
      <pc:docMkLst>
        <pc:docMk/>
      </pc:docMkLst>
      <pc:sldChg chg="add">
        <pc:chgData name="Alana Rivera" userId="S::arg3669@ads.northwestern.edu::fc8b707a-b7e9-4f2a-8d71-2d76819b7881" providerId="AD" clId="Web-{A2BBF3AA-3DF7-D95C-3A8A-EFE75A763B08}" dt="2024-01-11T04:22:15.580" v="494"/>
        <pc:sldMkLst>
          <pc:docMk/>
          <pc:sldMk cId="2272606415" sldId="503"/>
        </pc:sldMkLst>
      </pc:sldChg>
      <pc:sldChg chg="add">
        <pc:chgData name="Alana Rivera" userId="S::arg3669@ads.northwestern.edu::fc8b707a-b7e9-4f2a-8d71-2d76819b7881" providerId="AD" clId="Web-{A2BBF3AA-3DF7-D95C-3A8A-EFE75A763B08}" dt="2024-01-11T04:22:14.158" v="491"/>
        <pc:sldMkLst>
          <pc:docMk/>
          <pc:sldMk cId="407867449" sldId="573"/>
        </pc:sldMkLst>
      </pc:sldChg>
      <pc:sldChg chg="add">
        <pc:chgData name="Alana Rivera" userId="S::arg3669@ads.northwestern.edu::fc8b707a-b7e9-4f2a-8d71-2d76819b7881" providerId="AD" clId="Web-{A2BBF3AA-3DF7-D95C-3A8A-EFE75A763B08}" dt="2024-01-11T04:22:15.423" v="493"/>
        <pc:sldMkLst>
          <pc:docMk/>
          <pc:sldMk cId="816732610" sldId="574"/>
        </pc:sldMkLst>
      </pc:sldChg>
      <pc:sldChg chg="add">
        <pc:chgData name="Alana Rivera" userId="S::arg3669@ads.northwestern.edu::fc8b707a-b7e9-4f2a-8d71-2d76819b7881" providerId="AD" clId="Web-{A2BBF3AA-3DF7-D95C-3A8A-EFE75A763B08}" dt="2024-01-11T04:22:14.361" v="492"/>
        <pc:sldMkLst>
          <pc:docMk/>
          <pc:sldMk cId="918213805" sldId="575"/>
        </pc:sldMkLst>
      </pc:sldChg>
      <pc:sldChg chg="del">
        <pc:chgData name="Alana Rivera" userId="S::arg3669@ads.northwestern.edu::fc8b707a-b7e9-4f2a-8d71-2d76819b7881" providerId="AD" clId="Web-{A2BBF3AA-3DF7-D95C-3A8A-EFE75A763B08}" dt="2024-01-11T03:15:26.193" v="282"/>
        <pc:sldMkLst>
          <pc:docMk/>
          <pc:sldMk cId="89077294" sldId="629"/>
        </pc:sldMkLst>
      </pc:sldChg>
      <pc:sldChg chg="del">
        <pc:chgData name="Alana Rivera" userId="S::arg3669@ads.northwestern.edu::fc8b707a-b7e9-4f2a-8d71-2d76819b7881" providerId="AD" clId="Web-{A2BBF3AA-3DF7-D95C-3A8A-EFE75A763B08}" dt="2024-01-11T03:13:49.315" v="275"/>
        <pc:sldMkLst>
          <pc:docMk/>
          <pc:sldMk cId="1545652074" sldId="634"/>
        </pc:sldMkLst>
      </pc:sldChg>
      <pc:sldChg chg="del">
        <pc:chgData name="Alana Rivera" userId="S::arg3669@ads.northwestern.edu::fc8b707a-b7e9-4f2a-8d71-2d76819b7881" providerId="AD" clId="Web-{A2BBF3AA-3DF7-D95C-3A8A-EFE75A763B08}" dt="2024-01-11T02:49:08.222" v="0"/>
        <pc:sldMkLst>
          <pc:docMk/>
          <pc:sldMk cId="780674383" sldId="637"/>
        </pc:sldMkLst>
      </pc:sldChg>
      <pc:sldChg chg="del">
        <pc:chgData name="Alana Rivera" userId="S::arg3669@ads.northwestern.edu::fc8b707a-b7e9-4f2a-8d71-2d76819b7881" providerId="AD" clId="Web-{A2BBF3AA-3DF7-D95C-3A8A-EFE75A763B08}" dt="2024-01-11T04:12:41.556" v="375"/>
        <pc:sldMkLst>
          <pc:docMk/>
          <pc:sldMk cId="2406019992" sldId="640"/>
        </pc:sldMkLst>
      </pc:sldChg>
      <pc:sldChg chg="del">
        <pc:chgData name="Alana Rivera" userId="S::arg3669@ads.northwestern.edu::fc8b707a-b7e9-4f2a-8d71-2d76819b7881" providerId="AD" clId="Web-{A2BBF3AA-3DF7-D95C-3A8A-EFE75A763B08}" dt="2024-01-11T04:15:45.919" v="439"/>
        <pc:sldMkLst>
          <pc:docMk/>
          <pc:sldMk cId="2506523410" sldId="695"/>
        </pc:sldMkLst>
      </pc:sldChg>
      <pc:sldChg chg="modSp">
        <pc:chgData name="Alana Rivera" userId="S::arg3669@ads.northwestern.edu::fc8b707a-b7e9-4f2a-8d71-2d76819b7881" providerId="AD" clId="Web-{A2BBF3AA-3DF7-D95C-3A8A-EFE75A763B08}" dt="2024-01-11T04:20:46.390" v="480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A2BBF3AA-3DF7-D95C-3A8A-EFE75A763B08}" dt="2024-01-11T04:20:46.390" v="480"/>
          <ac:spMkLst>
            <pc:docMk/>
            <pc:sldMk cId="3682438970" sldId="698"/>
            <ac:spMk id="2" creationId="{7719FD7A-7B92-EC42-6554-FA310B6714B1}"/>
          </ac:spMkLst>
        </pc:spChg>
      </pc:sldChg>
      <pc:sldChg chg="modSp">
        <pc:chgData name="Alana Rivera" userId="S::arg3669@ads.northwestern.edu::fc8b707a-b7e9-4f2a-8d71-2d76819b7881" providerId="AD" clId="Web-{A2BBF3AA-3DF7-D95C-3A8A-EFE75A763B08}" dt="2024-01-11T04:20:57.469" v="482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A2BBF3AA-3DF7-D95C-3A8A-EFE75A763B08}" dt="2024-01-11T04:20:57.469" v="482"/>
          <ac:spMkLst>
            <pc:docMk/>
            <pc:sldMk cId="149255822" sldId="700"/>
            <ac:spMk id="2" creationId="{7719FD7A-7B92-EC42-6554-FA310B6714B1}"/>
          </ac:spMkLst>
        </pc:spChg>
      </pc:sldChg>
      <pc:sldChg chg="del">
        <pc:chgData name="Alana Rivera" userId="S::arg3669@ads.northwestern.edu::fc8b707a-b7e9-4f2a-8d71-2d76819b7881" providerId="AD" clId="Web-{A2BBF3AA-3DF7-D95C-3A8A-EFE75A763B08}" dt="2024-01-11T04:15:32.013" v="438"/>
        <pc:sldMkLst>
          <pc:docMk/>
          <pc:sldMk cId="1833157681" sldId="725"/>
        </pc:sldMkLst>
      </pc:sldChg>
      <pc:sldChg chg="del">
        <pc:chgData name="Alana Rivera" userId="S::arg3669@ads.northwestern.edu::fc8b707a-b7e9-4f2a-8d71-2d76819b7881" providerId="AD" clId="Web-{A2BBF3AA-3DF7-D95C-3A8A-EFE75A763B08}" dt="2024-01-11T03:15:26.178" v="281"/>
        <pc:sldMkLst>
          <pc:docMk/>
          <pc:sldMk cId="1192176824" sldId="728"/>
        </pc:sldMkLst>
      </pc:sldChg>
      <pc:sldChg chg="del">
        <pc:chgData name="Alana Rivera" userId="S::arg3669@ads.northwestern.edu::fc8b707a-b7e9-4f2a-8d71-2d76819b7881" providerId="AD" clId="Web-{A2BBF3AA-3DF7-D95C-3A8A-EFE75A763B08}" dt="2024-01-11T02:51:38.508" v="31"/>
        <pc:sldMkLst>
          <pc:docMk/>
          <pc:sldMk cId="399704805" sldId="748"/>
        </pc:sldMkLst>
      </pc:sldChg>
      <pc:sldChg chg="del">
        <pc:chgData name="Alana Rivera" userId="S::arg3669@ads.northwestern.edu::fc8b707a-b7e9-4f2a-8d71-2d76819b7881" providerId="AD" clId="Web-{A2BBF3AA-3DF7-D95C-3A8A-EFE75A763B08}" dt="2024-01-11T04:15:57.685" v="441"/>
        <pc:sldMkLst>
          <pc:docMk/>
          <pc:sldMk cId="2150107074" sldId="749"/>
        </pc:sldMkLst>
      </pc:sldChg>
      <pc:sldChg chg="del">
        <pc:chgData name="Alana Rivera" userId="S::arg3669@ads.northwestern.edu::fc8b707a-b7e9-4f2a-8d71-2d76819b7881" providerId="AD" clId="Web-{A2BBF3AA-3DF7-D95C-3A8A-EFE75A763B08}" dt="2024-01-11T04:15:51.919" v="440"/>
        <pc:sldMkLst>
          <pc:docMk/>
          <pc:sldMk cId="1901239047" sldId="750"/>
        </pc:sldMkLst>
      </pc:sldChg>
      <pc:sldChg chg="del">
        <pc:chgData name="Alana Rivera" userId="S::arg3669@ads.northwestern.edu::fc8b707a-b7e9-4f2a-8d71-2d76819b7881" providerId="AD" clId="Web-{A2BBF3AA-3DF7-D95C-3A8A-EFE75A763B08}" dt="2024-01-11T04:15:57.701" v="442"/>
        <pc:sldMkLst>
          <pc:docMk/>
          <pc:sldMk cId="3962415715" sldId="751"/>
        </pc:sldMkLst>
      </pc:sldChg>
      <pc:sldChg chg="modSp del">
        <pc:chgData name="Alana Rivera" userId="S::arg3669@ads.northwestern.edu::fc8b707a-b7e9-4f2a-8d71-2d76819b7881" providerId="AD" clId="Web-{A2BBF3AA-3DF7-D95C-3A8A-EFE75A763B08}" dt="2024-01-11T03:15:26.178" v="280"/>
        <pc:sldMkLst>
          <pc:docMk/>
          <pc:sldMk cId="1310655723" sldId="753"/>
        </pc:sldMkLst>
        <pc:spChg chg="mod">
          <ac:chgData name="Alana Rivera" userId="S::arg3669@ads.northwestern.edu::fc8b707a-b7e9-4f2a-8d71-2d76819b7881" providerId="AD" clId="Web-{A2BBF3AA-3DF7-D95C-3A8A-EFE75A763B08}" dt="2024-01-11T03:00:34.759" v="100" actId="1076"/>
          <ac:spMkLst>
            <pc:docMk/>
            <pc:sldMk cId="1310655723" sldId="753"/>
            <ac:spMk id="9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A2BBF3AA-3DF7-D95C-3A8A-EFE75A763B08}" dt="2024-01-11T04:22:59.440" v="501"/>
        <pc:sldMkLst>
          <pc:docMk/>
          <pc:sldMk cId="2422427631" sldId="755"/>
        </pc:sldMkLst>
        <pc:spChg chg="mod">
          <ac:chgData name="Alana Rivera" userId="S::arg3669@ads.northwestern.edu::fc8b707a-b7e9-4f2a-8d71-2d76819b7881" providerId="AD" clId="Web-{A2BBF3AA-3DF7-D95C-3A8A-EFE75A763B08}" dt="2024-01-11T04:22:59.440" v="501"/>
          <ac:spMkLst>
            <pc:docMk/>
            <pc:sldMk cId="2422427631" sldId="755"/>
            <ac:spMk id="2" creationId="{875610D5-0922-E3FB-2E32-5E2628A0D3BB}"/>
          </ac:spMkLst>
        </pc:spChg>
      </pc:sldChg>
      <pc:sldChg chg="del">
        <pc:chgData name="Alana Rivera" userId="S::arg3669@ads.northwestern.edu::fc8b707a-b7e9-4f2a-8d71-2d76819b7881" providerId="AD" clId="Web-{A2BBF3AA-3DF7-D95C-3A8A-EFE75A763B08}" dt="2024-01-11T04:22:48.533" v="499"/>
        <pc:sldMkLst>
          <pc:docMk/>
          <pc:sldMk cId="3276848309" sldId="756"/>
        </pc:sldMkLst>
      </pc:sldChg>
      <pc:sldChg chg="del">
        <pc:chgData name="Alana Rivera" userId="S::arg3669@ads.northwestern.edu::fc8b707a-b7e9-4f2a-8d71-2d76819b7881" providerId="AD" clId="Web-{A2BBF3AA-3DF7-D95C-3A8A-EFE75A763B08}" dt="2024-01-11T04:22:48.471" v="498"/>
        <pc:sldMkLst>
          <pc:docMk/>
          <pc:sldMk cId="403052938" sldId="758"/>
        </pc:sldMkLst>
      </pc:sldChg>
      <pc:sldChg chg="del">
        <pc:chgData name="Alana Rivera" userId="S::arg3669@ads.northwestern.edu::fc8b707a-b7e9-4f2a-8d71-2d76819b7881" providerId="AD" clId="Web-{A2BBF3AA-3DF7-D95C-3A8A-EFE75A763B08}" dt="2024-01-11T04:22:48.424" v="497"/>
        <pc:sldMkLst>
          <pc:docMk/>
          <pc:sldMk cId="3652848549" sldId="759"/>
        </pc:sldMkLst>
      </pc:sldChg>
      <pc:sldChg chg="del">
        <pc:chgData name="Alana Rivera" userId="S::arg3669@ads.northwestern.edu::fc8b707a-b7e9-4f2a-8d71-2d76819b7881" providerId="AD" clId="Web-{A2BBF3AA-3DF7-D95C-3A8A-EFE75A763B08}" dt="2024-01-11T04:22:45.440" v="496"/>
        <pc:sldMkLst>
          <pc:docMk/>
          <pc:sldMk cId="1536524285" sldId="760"/>
        </pc:sldMkLst>
      </pc:sldChg>
      <pc:sldChg chg="del">
        <pc:chgData name="Alana Rivera" userId="S::arg3669@ads.northwestern.edu::fc8b707a-b7e9-4f2a-8d71-2d76819b7881" providerId="AD" clId="Web-{A2BBF3AA-3DF7-D95C-3A8A-EFE75A763B08}" dt="2024-01-11T04:22:38.611" v="495"/>
        <pc:sldMkLst>
          <pc:docMk/>
          <pc:sldMk cId="4007625538" sldId="761"/>
        </pc:sldMkLst>
      </pc:sldChg>
      <pc:sldChg chg="delCm">
        <pc:chgData name="Alana Rivera" userId="S::arg3669@ads.northwestern.edu::fc8b707a-b7e9-4f2a-8d71-2d76819b7881" providerId="AD" clId="Web-{A2BBF3AA-3DF7-D95C-3A8A-EFE75A763B08}" dt="2024-01-11T04:23:28.005" v="503"/>
        <pc:sldMkLst>
          <pc:docMk/>
          <pc:sldMk cId="2781709529" sldId="76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A2BBF3AA-3DF7-D95C-3A8A-EFE75A763B08}" dt="2024-01-11T04:23:26.474" v="502"/>
              <pc2:cmMkLst xmlns:pc2="http://schemas.microsoft.com/office/powerpoint/2019/9/main/command">
                <pc:docMk/>
                <pc:sldMk cId="2781709529" sldId="763"/>
                <pc2:cmMk id="{05200B5A-65DA-47FE-BFD4-C4771605FBA5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A2BBF3AA-3DF7-D95C-3A8A-EFE75A763B08}" dt="2024-01-11T04:23:28.005" v="503"/>
              <pc2:cmMkLst xmlns:pc2="http://schemas.microsoft.com/office/powerpoint/2019/9/main/command">
                <pc:docMk/>
                <pc:sldMk cId="2781709529" sldId="763"/>
                <pc2:cmMk id="{20BA0BA5-0911-486A-B72D-456B5FA43BD4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A2BBF3AA-3DF7-D95C-3A8A-EFE75A763B08}" dt="2024-01-11T04:21:43.782" v="490"/>
        <pc:sldMkLst>
          <pc:docMk/>
          <pc:sldMk cId="4175269892" sldId="765"/>
        </pc:sldMkLst>
      </pc:sldChg>
      <pc:sldChg chg="del">
        <pc:chgData name="Alana Rivera" userId="S::arg3669@ads.northwestern.edu::fc8b707a-b7e9-4f2a-8d71-2d76819b7881" providerId="AD" clId="Web-{A2BBF3AA-3DF7-D95C-3A8A-EFE75A763B08}" dt="2024-01-11T04:21:43.423" v="489"/>
        <pc:sldMkLst>
          <pc:docMk/>
          <pc:sldMk cId="585035610" sldId="766"/>
        </pc:sldMkLst>
      </pc:sldChg>
      <pc:sldChg chg="del">
        <pc:chgData name="Alana Rivera" userId="S::arg3669@ads.northwestern.edu::fc8b707a-b7e9-4f2a-8d71-2d76819b7881" providerId="AD" clId="Web-{A2BBF3AA-3DF7-D95C-3A8A-EFE75A763B08}" dt="2024-01-11T03:15:26.193" v="283"/>
        <pc:sldMkLst>
          <pc:docMk/>
          <pc:sldMk cId="1643539557" sldId="768"/>
        </pc:sldMkLst>
      </pc:sldChg>
      <pc:sldChg chg="modSp">
        <pc:chgData name="Alana Rivera" userId="S::arg3669@ads.northwestern.edu::fc8b707a-b7e9-4f2a-8d71-2d76819b7881" providerId="AD" clId="Web-{A2BBF3AA-3DF7-D95C-3A8A-EFE75A763B08}" dt="2024-01-11T03:17:06.571" v="295" actId="1076"/>
        <pc:sldMkLst>
          <pc:docMk/>
          <pc:sldMk cId="4179369718" sldId="769"/>
        </pc:sldMkLst>
        <pc:spChg chg="mod">
          <ac:chgData name="Alana Rivera" userId="S::arg3669@ads.northwestern.edu::fc8b707a-b7e9-4f2a-8d71-2d76819b7881" providerId="AD" clId="Web-{A2BBF3AA-3DF7-D95C-3A8A-EFE75A763B08}" dt="2024-01-11T03:17:06.571" v="295" actId="1076"/>
          <ac:spMkLst>
            <pc:docMk/>
            <pc:sldMk cId="4179369718" sldId="769"/>
            <ac:spMk id="9" creationId="{00000000-0000-0000-0000-000000000000}"/>
          </ac:spMkLst>
        </pc:spChg>
        <pc:picChg chg="mod">
          <ac:chgData name="Alana Rivera" userId="S::arg3669@ads.northwestern.edu::fc8b707a-b7e9-4f2a-8d71-2d76819b7881" providerId="AD" clId="Web-{A2BBF3AA-3DF7-D95C-3A8A-EFE75A763B08}" dt="2024-01-11T03:16:58.259" v="294" actId="1076"/>
          <ac:picMkLst>
            <pc:docMk/>
            <pc:sldMk cId="4179369718" sldId="769"/>
            <ac:picMk id="8" creationId="{00000000-0000-0000-0000-000000000000}"/>
          </ac:picMkLst>
        </pc:picChg>
      </pc:sldChg>
      <pc:sldChg chg="del">
        <pc:chgData name="Alana Rivera" userId="S::arg3669@ads.northwestern.edu::fc8b707a-b7e9-4f2a-8d71-2d76819b7881" providerId="AD" clId="Web-{A2BBF3AA-3DF7-D95C-3A8A-EFE75A763B08}" dt="2024-01-11T03:15:26.193" v="284"/>
        <pc:sldMkLst>
          <pc:docMk/>
          <pc:sldMk cId="4211238063" sldId="772"/>
        </pc:sldMkLst>
      </pc:sldChg>
      <pc:sldChg chg="modSp">
        <pc:chgData name="Alana Rivera" userId="S::arg3669@ads.northwestern.edu::fc8b707a-b7e9-4f2a-8d71-2d76819b7881" providerId="AD" clId="Web-{A2BBF3AA-3DF7-D95C-3A8A-EFE75A763B08}" dt="2024-01-11T04:03:58.764" v="359" actId="1076"/>
        <pc:sldMkLst>
          <pc:docMk/>
          <pc:sldMk cId="3647874458" sldId="773"/>
        </pc:sldMkLst>
        <pc:spChg chg="mod">
          <ac:chgData name="Alana Rivera" userId="S::arg3669@ads.northwestern.edu::fc8b707a-b7e9-4f2a-8d71-2d76819b7881" providerId="AD" clId="Web-{A2BBF3AA-3DF7-D95C-3A8A-EFE75A763B08}" dt="2024-01-11T04:03:58.764" v="359" actId="1076"/>
          <ac:spMkLst>
            <pc:docMk/>
            <pc:sldMk cId="3647874458" sldId="773"/>
            <ac:spMk id="3" creationId="{1BDBFFB4-BDFD-7CAA-7ED3-E8D59F73B2F5}"/>
          </ac:spMkLst>
        </pc:spChg>
      </pc:sldChg>
      <pc:sldChg chg="modSp">
        <pc:chgData name="Alana Rivera" userId="S::arg3669@ads.northwestern.edu::fc8b707a-b7e9-4f2a-8d71-2d76819b7881" providerId="AD" clId="Web-{A2BBF3AA-3DF7-D95C-3A8A-EFE75A763B08}" dt="2024-01-11T04:14:15.074" v="391" actId="20577"/>
        <pc:sldMkLst>
          <pc:docMk/>
          <pc:sldMk cId="1982435436" sldId="784"/>
        </pc:sldMkLst>
        <pc:spChg chg="mod">
          <ac:chgData name="Alana Rivera" userId="S::arg3669@ads.northwestern.edu::fc8b707a-b7e9-4f2a-8d71-2d76819b7881" providerId="AD" clId="Web-{A2BBF3AA-3DF7-D95C-3A8A-EFE75A763B08}" dt="2024-01-11T04:14:15.074" v="391" actId="20577"/>
          <ac:spMkLst>
            <pc:docMk/>
            <pc:sldMk cId="1982435436" sldId="784"/>
            <ac:spMk id="2" creationId="{648FBB25-E6AC-43E0-018E-68B40B74197A}"/>
          </ac:spMkLst>
        </pc:spChg>
      </pc:sldChg>
      <pc:sldChg chg="add del">
        <pc:chgData name="Alana Rivera" userId="S::arg3669@ads.northwestern.edu::fc8b707a-b7e9-4f2a-8d71-2d76819b7881" providerId="AD" clId="Web-{A2BBF3AA-3DF7-D95C-3A8A-EFE75A763B08}" dt="2024-01-11T02:50:55.023" v="15"/>
        <pc:sldMkLst>
          <pc:docMk/>
          <pc:sldMk cId="3573947264" sldId="785"/>
        </pc:sldMkLst>
      </pc:sldChg>
      <pc:sldChg chg="add del">
        <pc:chgData name="Alana Rivera" userId="S::arg3669@ads.northwestern.edu::fc8b707a-b7e9-4f2a-8d71-2d76819b7881" providerId="AD" clId="Web-{A2BBF3AA-3DF7-D95C-3A8A-EFE75A763B08}" dt="2024-01-11T02:50:55.257" v="16"/>
        <pc:sldMkLst>
          <pc:docMk/>
          <pc:sldMk cId="3850125703" sldId="786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09:58.787" v="371"/>
        <pc:sldMkLst>
          <pc:docMk/>
          <pc:sldMk cId="1036043289" sldId="787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09:54.677" v="370"/>
        <pc:sldMkLst>
          <pc:docMk/>
          <pc:sldMk cId="773696652" sldId="788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09:52.287" v="369"/>
        <pc:sldMkLst>
          <pc:docMk/>
          <pc:sldMk cId="1522616096" sldId="789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09:49.646" v="368"/>
        <pc:sldMkLst>
          <pc:docMk/>
          <pc:sldMk cId="714682852" sldId="790"/>
        </pc:sldMkLst>
      </pc:sldChg>
      <pc:sldChg chg="add del">
        <pc:chgData name="Alana Rivera" userId="S::arg3669@ads.northwestern.edu::fc8b707a-b7e9-4f2a-8d71-2d76819b7881" providerId="AD" clId="Web-{A2BBF3AA-3DF7-D95C-3A8A-EFE75A763B08}" dt="2024-01-11T02:50:56.663" v="21"/>
        <pc:sldMkLst>
          <pc:docMk/>
          <pc:sldMk cId="1514756035" sldId="791"/>
        </pc:sldMkLst>
      </pc:sldChg>
      <pc:sldChg chg="add del">
        <pc:chgData name="Alana Rivera" userId="S::arg3669@ads.northwestern.edu::fc8b707a-b7e9-4f2a-8d71-2d76819b7881" providerId="AD" clId="Web-{A2BBF3AA-3DF7-D95C-3A8A-EFE75A763B08}" dt="2024-01-11T02:50:56.804" v="22"/>
        <pc:sldMkLst>
          <pc:docMk/>
          <pc:sldMk cId="3726638559" sldId="792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09:39.552" v="367"/>
        <pc:sldMkLst>
          <pc:docMk/>
          <pc:sldMk cId="3635595752" sldId="793"/>
        </pc:sldMkLst>
      </pc:sldChg>
      <pc:sldChg chg="addSp modSp add del mod setBg">
        <pc:chgData name="Alana Rivera" userId="S::arg3669@ads.northwestern.edu::fc8b707a-b7e9-4f2a-8d71-2d76819b7881" providerId="AD" clId="Web-{A2BBF3AA-3DF7-D95C-3A8A-EFE75A763B08}" dt="2024-01-11T04:09:33.286" v="366"/>
        <pc:sldMkLst>
          <pc:docMk/>
          <pc:sldMk cId="3550543422" sldId="794"/>
        </pc:sldMkLst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2" creationId="{00E71487-37C0-4C0E-623A-93B83F76D043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4" creationId="{CBDFE288-4664-66CE-222B-30B7E9F7C777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5" creationId="{9447496C-4A07-ABDD-3E52-7818D114D165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7" creationId="{0F2915B1-343A-A7D1-A8F0-0C5B7AB01CE3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9" creationId="{5B6B85F4-3C0B-C459-93D1-08C96EE11C3C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11" creationId="{4354EF3D-18AD-5FC4-80E6-E6E182BD4CB4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13" creationId="{619438E2-EF62-8DE5-917B-63D2EB66C782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15" creationId="{DEDB5EE0-2BE1-D237-F635-065D8EDF0FD1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17" creationId="{E44795EA-358A-F7D2-CE8C-50736D9317D9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19" creationId="{8EE4F3A6-19F8-9372-0E8F-556564648CEC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21" creationId="{3141B83C-6D91-76C8-D51C-2A418EBA8137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26" creationId="{56E9B3E6-E277-4D68-BA48-9CB43FFBD6E2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33.286" v="366"/>
          <ac:spMkLst>
            <pc:docMk/>
            <pc:sldMk cId="3550543422" sldId="794"/>
            <ac:spMk id="33" creationId="{D5B0017B-2ECA-49AF-B397-DC140825DF8D}"/>
          </ac:spMkLst>
        </pc:spChg>
        <pc:grpChg chg="add">
          <ac:chgData name="Alana Rivera" userId="S::arg3669@ads.northwestern.edu::fc8b707a-b7e9-4f2a-8d71-2d76819b7881" providerId="AD" clId="Web-{A2BBF3AA-3DF7-D95C-3A8A-EFE75A763B08}" dt="2024-01-11T04:09:33.286" v="366"/>
          <ac:grpSpMkLst>
            <pc:docMk/>
            <pc:sldMk cId="3550543422" sldId="794"/>
            <ac:grpSpMk id="28" creationId="{AE1C45F0-260A-458C-96ED-C1F6D2151219}"/>
          </ac:grpSpMkLst>
        </pc:grpChg>
        <pc:cxnChg chg="add">
          <ac:chgData name="Alana Rivera" userId="S::arg3669@ads.northwestern.edu::fc8b707a-b7e9-4f2a-8d71-2d76819b7881" providerId="AD" clId="Web-{A2BBF3AA-3DF7-D95C-3A8A-EFE75A763B08}" dt="2024-01-11T04:09:33.286" v="366"/>
          <ac:cxnSpMkLst>
            <pc:docMk/>
            <pc:sldMk cId="3550543422" sldId="794"/>
            <ac:cxnSpMk id="35" creationId="{6CF1BAF6-AD41-4082-B212-8A1F9A2E8779}"/>
          </ac:cxnSpMkLst>
        </pc:cxnChg>
      </pc:sldChg>
      <pc:sldChg chg="add del">
        <pc:chgData name="Alana Rivera" userId="S::arg3669@ads.northwestern.edu::fc8b707a-b7e9-4f2a-8d71-2d76819b7881" providerId="AD" clId="Web-{A2BBF3AA-3DF7-D95C-3A8A-EFE75A763B08}" dt="2024-01-11T02:50:57.695" v="25"/>
        <pc:sldMkLst>
          <pc:docMk/>
          <pc:sldMk cId="790635443" sldId="795"/>
        </pc:sldMkLst>
      </pc:sldChg>
      <pc:sldChg chg="addSp modSp add del">
        <pc:chgData name="Alana Rivera" userId="S::arg3669@ads.northwestern.edu::fc8b707a-b7e9-4f2a-8d71-2d76819b7881" providerId="AD" clId="Web-{A2BBF3AA-3DF7-D95C-3A8A-EFE75A763B08}" dt="2024-01-11T04:08:49.879" v="362" actId="1076"/>
        <pc:sldMkLst>
          <pc:docMk/>
          <pc:sldMk cId="1758158855" sldId="796"/>
        </pc:sldMkLst>
        <pc:spChg chg="add">
          <ac:chgData name="Alana Rivera" userId="S::arg3669@ads.northwestern.edu::fc8b707a-b7e9-4f2a-8d71-2d76819b7881" providerId="AD" clId="Web-{A2BBF3AA-3DF7-D95C-3A8A-EFE75A763B08}" dt="2024-01-11T04:08:41.020" v="360"/>
          <ac:spMkLst>
            <pc:docMk/>
            <pc:sldMk cId="1758158855" sldId="796"/>
            <ac:spMk id="13" creationId="{2B97F24A-32CE-4C1C-A50D-3016B394DCFB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8:41.020" v="360"/>
          <ac:spMkLst>
            <pc:docMk/>
            <pc:sldMk cId="1758158855" sldId="796"/>
            <ac:spMk id="15" creationId="{CD8B4F24-440B-49E9-B85D-733523DC064B}"/>
          </ac:spMkLst>
        </pc:spChg>
        <pc:picChg chg="mod">
          <ac:chgData name="Alana Rivera" userId="S::arg3669@ads.northwestern.edu::fc8b707a-b7e9-4f2a-8d71-2d76819b7881" providerId="AD" clId="Web-{A2BBF3AA-3DF7-D95C-3A8A-EFE75A763B08}" dt="2024-01-11T04:08:49.879" v="362" actId="1076"/>
          <ac:picMkLst>
            <pc:docMk/>
            <pc:sldMk cId="1758158855" sldId="796"/>
            <ac:picMk id="8" creationId="{00000000-0000-0000-0000-000000000000}"/>
          </ac:picMkLst>
        </pc:picChg>
      </pc:sldChg>
      <pc:sldChg chg="addSp modSp add del">
        <pc:chgData name="Alana Rivera" userId="S::arg3669@ads.northwestern.edu::fc8b707a-b7e9-4f2a-8d71-2d76819b7881" providerId="AD" clId="Web-{A2BBF3AA-3DF7-D95C-3A8A-EFE75A763B08}" dt="2024-01-11T04:09:04.364" v="363"/>
        <pc:sldMkLst>
          <pc:docMk/>
          <pc:sldMk cId="4023770579" sldId="797"/>
        </pc:sldMkLst>
        <pc:spChg chg="mo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2" creationId="{2D358DD0-2AA0-AB8F-45B1-8C96C2105FD9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4" creationId="{1B3C747C-E353-0DDD-F6BF-01BAF8C69224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5" creationId="{38D3D7B5-2209-DCD1-7D65-DCCCB8747795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14" creationId="{700DFE8C-04E0-11F7-1D35-A335A4579AA0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19" creationId="{47942995-B07F-4636-9A06-C6A104B260A8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26" creationId="{B81933D1-5615-42C7-9C0B-4EB7105CCE2D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04.364" v="363"/>
          <ac:spMkLst>
            <pc:docMk/>
            <pc:sldMk cId="4023770579" sldId="797"/>
            <ac:spMk id="28" creationId="{19C9EAEA-39D0-4B0E-A0EB-51E7B26740B1}"/>
          </ac:spMkLst>
        </pc:spChg>
        <pc:grpChg chg="add">
          <ac:chgData name="Alana Rivera" userId="S::arg3669@ads.northwestern.edu::fc8b707a-b7e9-4f2a-8d71-2d76819b7881" providerId="AD" clId="Web-{A2BBF3AA-3DF7-D95C-3A8A-EFE75A763B08}" dt="2024-01-11T04:09:04.364" v="363"/>
          <ac:grpSpMkLst>
            <pc:docMk/>
            <pc:sldMk cId="4023770579" sldId="797"/>
            <ac:grpSpMk id="21" creationId="{032D8612-31EB-44CF-A1D0-14FD4C705424}"/>
          </ac:grpSpMkLst>
        </pc:grpChg>
        <pc:picChg chg="mod">
          <ac:chgData name="Alana Rivera" userId="S::arg3669@ads.northwestern.edu::fc8b707a-b7e9-4f2a-8d71-2d76819b7881" providerId="AD" clId="Web-{A2BBF3AA-3DF7-D95C-3A8A-EFE75A763B08}" dt="2024-01-11T04:09:04.364" v="363"/>
          <ac:picMkLst>
            <pc:docMk/>
            <pc:sldMk cId="4023770579" sldId="797"/>
            <ac:picMk id="8" creationId="{5B6067A6-4261-E8D7-8714-D2A90EF2CC5E}"/>
          </ac:picMkLst>
        </pc:picChg>
      </pc:sldChg>
      <pc:sldChg chg="addSp modSp add del">
        <pc:chgData name="Alana Rivera" userId="S::arg3669@ads.northwestern.edu::fc8b707a-b7e9-4f2a-8d71-2d76819b7881" providerId="AD" clId="Web-{A2BBF3AA-3DF7-D95C-3A8A-EFE75A763B08}" dt="2024-01-11T04:09:11.052" v="364"/>
        <pc:sldMkLst>
          <pc:docMk/>
          <pc:sldMk cId="3572565421" sldId="798"/>
        </pc:sldMkLst>
        <pc:spChg chg="mo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2" creationId="{254DF95E-4E67-BAF0-2898-584D247DD41D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4" creationId="{6844FCDD-F72E-0719-A9A2-4E15D0FA8683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5" creationId="{46998BF8-9865-F057-0553-B54C685BD77C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10" creationId="{82689E54-BD73-FA60-6CE4-3B6868253FDB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15" creationId="{201CC55D-ED54-4C5C-95E6-10947BD1103B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21" creationId="{3873B707-463F-40B0-8227-E8CC6C67EB25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23" creationId="{C13237C8-E62C-4F0D-A318-BD6FB6C2D138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09:11.052" v="364"/>
          <ac:spMkLst>
            <pc:docMk/>
            <pc:sldMk cId="3572565421" sldId="798"/>
            <ac:spMk id="25" creationId="{19C9EAEA-39D0-4B0E-A0EB-51E7B26740B1}"/>
          </ac:spMkLst>
        </pc:spChg>
        <pc:grpChg chg="add">
          <ac:chgData name="Alana Rivera" userId="S::arg3669@ads.northwestern.edu::fc8b707a-b7e9-4f2a-8d71-2d76819b7881" providerId="AD" clId="Web-{A2BBF3AA-3DF7-D95C-3A8A-EFE75A763B08}" dt="2024-01-11T04:09:11.052" v="364"/>
          <ac:grpSpMkLst>
            <pc:docMk/>
            <pc:sldMk cId="3572565421" sldId="798"/>
            <ac:grpSpMk id="17" creationId="{1DE889C7-FAD6-4397-98E2-05D503484459}"/>
          </ac:grpSpMkLst>
        </pc:grpChg>
        <pc:picChg chg="mod">
          <ac:chgData name="Alana Rivera" userId="S::arg3669@ads.northwestern.edu::fc8b707a-b7e9-4f2a-8d71-2d76819b7881" providerId="AD" clId="Web-{A2BBF3AA-3DF7-D95C-3A8A-EFE75A763B08}" dt="2024-01-11T04:09:11.052" v="364"/>
          <ac:picMkLst>
            <pc:docMk/>
            <pc:sldMk cId="3572565421" sldId="798"/>
            <ac:picMk id="6" creationId="{B6128E00-8074-B03E-C8F6-B2F861BDB843}"/>
          </ac:picMkLst>
        </pc:picChg>
      </pc:sldChg>
      <pc:sldChg chg="add del">
        <pc:chgData name="Alana Rivera" userId="S::arg3669@ads.northwestern.edu::fc8b707a-b7e9-4f2a-8d71-2d76819b7881" providerId="AD" clId="Web-{A2BBF3AA-3DF7-D95C-3A8A-EFE75A763B08}" dt="2024-01-11T04:09:19.005" v="365"/>
        <pc:sldMkLst>
          <pc:docMk/>
          <pc:sldMk cId="382373394" sldId="799"/>
        </pc:sldMkLst>
      </pc:sldChg>
      <pc:sldChg chg="addSp delSp modSp add del replId">
        <pc:chgData name="Alana Rivera" userId="S::arg3669@ads.northwestern.edu::fc8b707a-b7e9-4f2a-8d71-2d76819b7881" providerId="AD" clId="Web-{A2BBF3AA-3DF7-D95C-3A8A-EFE75A763B08}" dt="2024-01-11T03:15:26.178" v="279"/>
        <pc:sldMkLst>
          <pc:docMk/>
          <pc:sldMk cId="1690262315" sldId="800"/>
        </pc:sldMkLst>
        <pc:spChg chg="mod ord">
          <ac:chgData name="Alana Rivera" userId="S::arg3669@ads.northwestern.edu::fc8b707a-b7e9-4f2a-8d71-2d76819b7881" providerId="AD" clId="Web-{A2BBF3AA-3DF7-D95C-3A8A-EFE75A763B08}" dt="2024-01-11T03:11:25.842" v="248" actId="1076"/>
          <ac:spMkLst>
            <pc:docMk/>
            <pc:sldMk cId="1690262315" sldId="800"/>
            <ac:spMk id="2" creationId="{2B173B5D-F90F-66F4-E5DE-807C02C7D380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3:11:30.764" v="249" actId="1076"/>
          <ac:spMkLst>
            <pc:docMk/>
            <pc:sldMk cId="1690262315" sldId="800"/>
            <ac:spMk id="6" creationId="{1CC47398-47D1-3991-0095-85F08C7014B2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3:02:36.169" v="158"/>
          <ac:spMkLst>
            <pc:docMk/>
            <pc:sldMk cId="1690262315" sldId="800"/>
            <ac:spMk id="7" creationId="{027E787A-E979-0AC4-30C2-698A62CEB6A8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1:53.071" v="33"/>
          <ac:spMkLst>
            <pc:docMk/>
            <pc:sldMk cId="1690262315" sldId="800"/>
            <ac:spMk id="8" creationId="{C09B26FF-C3B9-0E24-2629-B2AD0AF8C974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9:41.898" v="77"/>
          <ac:spMkLst>
            <pc:docMk/>
            <pc:sldMk cId="1690262315" sldId="800"/>
            <ac:spMk id="9" creationId="{91B4907A-5608-3FEC-89AA-8C4442E0BE0B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2:21.525" v="46"/>
          <ac:spMkLst>
            <pc:docMk/>
            <pc:sldMk cId="1690262315" sldId="800"/>
            <ac:spMk id="10" creationId="{7EDA04C5-6E74-7EDE-FDFA-07DB9CA36339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2:31.963" v="48"/>
          <ac:spMkLst>
            <pc:docMk/>
            <pc:sldMk cId="1690262315" sldId="800"/>
            <ac:spMk id="11" creationId="{2FABBB1B-AD7C-0EEF-53D0-88C20D8B8283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2:05.853" v="39"/>
          <ac:spMkLst>
            <pc:docMk/>
            <pc:sldMk cId="1690262315" sldId="800"/>
            <ac:spMk id="12" creationId="{CD395328-B770-E6CF-FB47-B82474EC2B58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2:18.150" v="44"/>
          <ac:spMkLst>
            <pc:docMk/>
            <pc:sldMk cId="1690262315" sldId="800"/>
            <ac:spMk id="13" creationId="{09D18B1B-2C91-7403-5699-BE9B79A01E37}"/>
          </ac:spMkLst>
        </pc:spChg>
        <pc:spChg chg="del mod">
          <ac:chgData name="Alana Rivera" userId="S::arg3669@ads.northwestern.edu::fc8b707a-b7e9-4f2a-8d71-2d76819b7881" providerId="AD" clId="Web-{A2BBF3AA-3DF7-D95C-3A8A-EFE75A763B08}" dt="2024-01-11T02:51:59.712" v="37"/>
          <ac:spMkLst>
            <pc:docMk/>
            <pc:sldMk cId="1690262315" sldId="800"/>
            <ac:spMk id="14" creationId="{924A6CEE-AAC1-2A2B-7056-308064D8A33F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3:11:36.545" v="250" actId="1076"/>
          <ac:spMkLst>
            <pc:docMk/>
            <pc:sldMk cId="1690262315" sldId="800"/>
            <ac:spMk id="15" creationId="{72552A16-8979-8328-044D-EB965134F322}"/>
          </ac:spMkLst>
        </pc:spChg>
        <pc:spChg chg="add del mod">
          <ac:chgData name="Alana Rivera" userId="S::arg3669@ads.northwestern.edu::fc8b707a-b7e9-4f2a-8d71-2d76819b7881" providerId="AD" clId="Web-{A2BBF3AA-3DF7-D95C-3A8A-EFE75A763B08}" dt="2024-01-11T03:03:32.015" v="193"/>
          <ac:spMkLst>
            <pc:docMk/>
            <pc:sldMk cId="1690262315" sldId="800"/>
            <ac:spMk id="17" creationId="{057CCB18-CDBD-8BF2-7FAA-7850FD397389}"/>
          </ac:spMkLst>
        </pc:spChg>
        <pc:spChg chg="add del mod">
          <ac:chgData name="Alana Rivera" userId="S::arg3669@ads.northwestern.edu::fc8b707a-b7e9-4f2a-8d71-2d76819b7881" providerId="AD" clId="Web-{A2BBF3AA-3DF7-D95C-3A8A-EFE75A763B08}" dt="2024-01-11T03:03:35.359" v="197"/>
          <ac:spMkLst>
            <pc:docMk/>
            <pc:sldMk cId="1690262315" sldId="800"/>
            <ac:spMk id="18" creationId="{F300485A-CB31-6E9D-BEE4-9CA89137E465}"/>
          </ac:spMkLst>
        </pc:spChg>
        <pc:spChg chg="add mod">
          <ac:chgData name="Alana Rivera" userId="S::arg3669@ads.northwestern.edu::fc8b707a-b7e9-4f2a-8d71-2d76819b7881" providerId="AD" clId="Web-{A2BBF3AA-3DF7-D95C-3A8A-EFE75A763B08}" dt="2024-01-11T03:03:45.078" v="199" actId="1076"/>
          <ac:spMkLst>
            <pc:docMk/>
            <pc:sldMk cId="1690262315" sldId="800"/>
            <ac:spMk id="19" creationId="{69B6B7F5-0814-52E5-DC91-550599718ADA}"/>
          </ac:spMkLst>
        </pc:spChg>
        <pc:spChg chg="add mod">
          <ac:chgData name="Alana Rivera" userId="S::arg3669@ads.northwestern.edu::fc8b707a-b7e9-4f2a-8d71-2d76819b7881" providerId="AD" clId="Web-{A2BBF3AA-3DF7-D95C-3A8A-EFE75A763B08}" dt="2024-01-11T03:11:45.983" v="251" actId="20577"/>
          <ac:spMkLst>
            <pc:docMk/>
            <pc:sldMk cId="1690262315" sldId="800"/>
            <ac:spMk id="20" creationId="{3FF70AE4-9AF0-75FE-8520-8A3427521F2B}"/>
          </ac:spMkLst>
        </pc:spChg>
        <pc:spChg chg="add mod">
          <ac:chgData name="Alana Rivera" userId="S::arg3669@ads.northwestern.edu::fc8b707a-b7e9-4f2a-8d71-2d76819b7881" providerId="AD" clId="Web-{A2BBF3AA-3DF7-D95C-3A8A-EFE75A763B08}" dt="2024-01-11T03:13:22.564" v="274" actId="20577"/>
          <ac:spMkLst>
            <pc:docMk/>
            <pc:sldMk cId="1690262315" sldId="800"/>
            <ac:spMk id="22" creationId="{8ABA3E72-0F12-C088-6AD1-F2AC98F861D2}"/>
          </ac:spMkLst>
        </pc:spChg>
        <pc:grpChg chg="del">
          <ac:chgData name="Alana Rivera" userId="S::arg3669@ads.northwestern.edu::fc8b707a-b7e9-4f2a-8d71-2d76819b7881" providerId="AD" clId="Web-{A2BBF3AA-3DF7-D95C-3A8A-EFE75A763B08}" dt="2024-01-11T02:51:55.509" v="34"/>
          <ac:grpSpMkLst>
            <pc:docMk/>
            <pc:sldMk cId="1690262315" sldId="800"/>
            <ac:grpSpMk id="3" creationId="{4BA93BE5-A3B7-CCD7-1294-4E4B9F104FDA}"/>
          </ac:grpSpMkLst>
        </pc:grpChg>
        <pc:picChg chg="add del mod">
          <ac:chgData name="Alana Rivera" userId="S::arg3669@ads.northwestern.edu::fc8b707a-b7e9-4f2a-8d71-2d76819b7881" providerId="AD" clId="Web-{A2BBF3AA-3DF7-D95C-3A8A-EFE75A763B08}" dt="2024-01-11T03:10:22.590" v="236"/>
          <ac:picMkLst>
            <pc:docMk/>
            <pc:sldMk cId="1690262315" sldId="800"/>
            <ac:picMk id="16" creationId="{F970FF45-F70D-7FB0-AE53-5E7862BD985F}"/>
          </ac:picMkLst>
        </pc:picChg>
        <pc:picChg chg="add mod">
          <ac:chgData name="Alana Rivera" userId="S::arg3669@ads.northwestern.edu::fc8b707a-b7e9-4f2a-8d71-2d76819b7881" providerId="AD" clId="Web-{A2BBF3AA-3DF7-D95C-3A8A-EFE75A763B08}" dt="2024-01-11T03:11:23.764" v="247" actId="1076"/>
          <ac:picMkLst>
            <pc:docMk/>
            <pc:sldMk cId="1690262315" sldId="800"/>
            <ac:picMk id="21" creationId="{4D872AB4-619D-ECAA-EBA3-1B41B6736491}"/>
          </ac:picMkLst>
        </pc:picChg>
      </pc:sldChg>
      <pc:sldChg chg="add del">
        <pc:chgData name="Alana Rivera" userId="S::arg3669@ads.northwestern.edu::fc8b707a-b7e9-4f2a-8d71-2d76819b7881" providerId="AD" clId="Web-{A2BBF3AA-3DF7-D95C-3A8A-EFE75A763B08}" dt="2024-01-11T03:14:11.941" v="278"/>
        <pc:sldMkLst>
          <pc:docMk/>
          <pc:sldMk cId="1545652074" sldId="801"/>
        </pc:sldMkLst>
      </pc:sldChg>
      <pc:sldChg chg="add">
        <pc:chgData name="Alana Rivera" userId="S::arg3669@ads.northwestern.edu::fc8b707a-b7e9-4f2a-8d71-2d76819b7881" providerId="AD" clId="Web-{A2BBF3AA-3DF7-D95C-3A8A-EFE75A763B08}" dt="2024-01-11T03:15:41.600" v="285"/>
        <pc:sldMkLst>
          <pc:docMk/>
          <pc:sldMk cId="1690262315" sldId="802"/>
        </pc:sldMkLst>
      </pc:sldChg>
      <pc:sldChg chg="add">
        <pc:chgData name="Alana Rivera" userId="S::arg3669@ads.northwestern.edu::fc8b707a-b7e9-4f2a-8d71-2d76819b7881" providerId="AD" clId="Web-{A2BBF3AA-3DF7-D95C-3A8A-EFE75A763B08}" dt="2024-01-11T03:15:41.678" v="286"/>
        <pc:sldMkLst>
          <pc:docMk/>
          <pc:sldMk cId="1310655723" sldId="803"/>
        </pc:sldMkLst>
      </pc:sldChg>
      <pc:sldChg chg="add">
        <pc:chgData name="Alana Rivera" userId="S::arg3669@ads.northwestern.edu::fc8b707a-b7e9-4f2a-8d71-2d76819b7881" providerId="AD" clId="Web-{A2BBF3AA-3DF7-D95C-3A8A-EFE75A763B08}" dt="2024-01-11T03:15:42.506" v="287"/>
        <pc:sldMkLst>
          <pc:docMk/>
          <pc:sldMk cId="1192176824" sldId="804"/>
        </pc:sldMkLst>
      </pc:sldChg>
      <pc:sldChg chg="add">
        <pc:chgData name="Alana Rivera" userId="S::arg3669@ads.northwestern.edu::fc8b707a-b7e9-4f2a-8d71-2d76819b7881" providerId="AD" clId="Web-{A2BBF3AA-3DF7-D95C-3A8A-EFE75A763B08}" dt="2024-01-11T03:15:43.459" v="288"/>
        <pc:sldMkLst>
          <pc:docMk/>
          <pc:sldMk cId="89077294" sldId="805"/>
        </pc:sldMkLst>
      </pc:sldChg>
      <pc:sldChg chg="add">
        <pc:chgData name="Alana Rivera" userId="S::arg3669@ads.northwestern.edu::fc8b707a-b7e9-4f2a-8d71-2d76819b7881" providerId="AD" clId="Web-{A2BBF3AA-3DF7-D95C-3A8A-EFE75A763B08}" dt="2024-01-11T03:15:44.319" v="289"/>
        <pc:sldMkLst>
          <pc:docMk/>
          <pc:sldMk cId="1643539557" sldId="806"/>
        </pc:sldMkLst>
      </pc:sldChg>
      <pc:sldChg chg="add ord">
        <pc:chgData name="Alana Rivera" userId="S::arg3669@ads.northwestern.edu::fc8b707a-b7e9-4f2a-8d71-2d76819b7881" providerId="AD" clId="Web-{A2BBF3AA-3DF7-D95C-3A8A-EFE75A763B08}" dt="2024-01-11T03:16:12.632" v="291"/>
        <pc:sldMkLst>
          <pc:docMk/>
          <pc:sldMk cId="4211238063" sldId="807"/>
        </pc:sldMkLst>
      </pc:sldChg>
      <pc:sldChg chg="modSp add del">
        <pc:chgData name="Alana Rivera" userId="S::arg3669@ads.northwestern.edu::fc8b707a-b7e9-4f2a-8d71-2d76819b7881" providerId="AD" clId="Web-{A2BBF3AA-3DF7-D95C-3A8A-EFE75A763B08}" dt="2024-01-11T04:03:54.201" v="358" actId="20577"/>
        <pc:sldMkLst>
          <pc:docMk/>
          <pc:sldMk cId="21386578" sldId="808"/>
        </pc:sldMkLst>
        <pc:spChg chg="mod">
          <ac:chgData name="Alana Rivera" userId="S::arg3669@ads.northwestern.edu::fc8b707a-b7e9-4f2a-8d71-2d76819b7881" providerId="AD" clId="Web-{A2BBF3AA-3DF7-D95C-3A8A-EFE75A763B08}" dt="2024-01-11T03:21:15.329" v="303" actId="20577"/>
          <ac:spMkLst>
            <pc:docMk/>
            <pc:sldMk cId="21386578" sldId="808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03:54.201" v="358" actId="20577"/>
          <ac:spMkLst>
            <pc:docMk/>
            <pc:sldMk cId="21386578" sldId="808"/>
            <ac:spMk id="3" creationId="{00000000-0000-0000-0000-000000000000}"/>
          </ac:spMkLst>
        </pc:spChg>
        <pc:picChg chg="mod">
          <ac:chgData name="Alana Rivera" userId="S::arg3669@ads.northwestern.edu::fc8b707a-b7e9-4f2a-8d71-2d76819b7881" providerId="AD" clId="Web-{A2BBF3AA-3DF7-D95C-3A8A-EFE75A763B08}" dt="2024-01-11T03:21:27.204" v="306" actId="1076"/>
          <ac:picMkLst>
            <pc:docMk/>
            <pc:sldMk cId="21386578" sldId="808"/>
            <ac:picMk id="6" creationId="{00000000-0000-0000-0000-000000000000}"/>
          </ac:picMkLst>
        </pc:picChg>
      </pc:sldChg>
      <pc:sldChg chg="add del">
        <pc:chgData name="Alana Rivera" userId="S::arg3669@ads.northwestern.edu::fc8b707a-b7e9-4f2a-8d71-2d76819b7881" providerId="AD" clId="Web-{A2BBF3AA-3DF7-D95C-3A8A-EFE75A763B08}" dt="2024-01-11T04:12:36.946" v="374"/>
        <pc:sldMkLst>
          <pc:docMk/>
          <pc:sldMk cId="2462434254" sldId="809"/>
        </pc:sldMkLst>
      </pc:sldChg>
      <pc:sldChg chg="add">
        <pc:chgData name="Alana Rivera" userId="S::arg3669@ads.northwestern.edu::fc8b707a-b7e9-4f2a-8d71-2d76819b7881" providerId="AD" clId="Web-{A2BBF3AA-3DF7-D95C-3A8A-EFE75A763B08}" dt="2024-01-11T04:13:35.979" v="376"/>
        <pc:sldMkLst>
          <pc:docMk/>
          <pc:sldMk cId="2647960650" sldId="810"/>
        </pc:sldMkLst>
      </pc:sldChg>
      <pc:sldChg chg="modSp add replId">
        <pc:chgData name="Alana Rivera" userId="S::arg3669@ads.northwestern.edu::fc8b707a-b7e9-4f2a-8d71-2d76819b7881" providerId="AD" clId="Web-{A2BBF3AA-3DF7-D95C-3A8A-EFE75A763B08}" dt="2024-01-11T04:15:05.121" v="437"/>
        <pc:sldMkLst>
          <pc:docMk/>
          <pc:sldMk cId="1805206964" sldId="811"/>
        </pc:sldMkLst>
        <pc:spChg chg="mod">
          <ac:chgData name="Alana Rivera" userId="S::arg3669@ads.northwestern.edu::fc8b707a-b7e9-4f2a-8d71-2d76819b7881" providerId="AD" clId="Web-{A2BBF3AA-3DF7-D95C-3A8A-EFE75A763B08}" dt="2024-01-11T04:14:39.683" v="394" actId="20577"/>
          <ac:spMkLst>
            <pc:docMk/>
            <pc:sldMk cId="1805206964" sldId="811"/>
            <ac:spMk id="2" creationId="{1E79CB01-8D8F-54BE-C7AE-A200EBD655FB}"/>
          </ac:spMkLst>
        </pc:spChg>
        <pc:graphicFrameChg chg="mod modGraphic">
          <ac:chgData name="Alana Rivera" userId="S::arg3669@ads.northwestern.edu::fc8b707a-b7e9-4f2a-8d71-2d76819b7881" providerId="AD" clId="Web-{A2BBF3AA-3DF7-D95C-3A8A-EFE75A763B08}" dt="2024-01-11T04:15:05.121" v="437"/>
          <ac:graphicFrameMkLst>
            <pc:docMk/>
            <pc:sldMk cId="1805206964" sldId="811"/>
            <ac:graphicFrameMk id="6" creationId="{3C10FB90-C65D-4456-26E4-25AEC9F1CECF}"/>
          </ac:graphicFrameMkLst>
        </pc:graphicFrameChg>
      </pc:sldChg>
      <pc:sldChg chg="add del">
        <pc:chgData name="Alana Rivera" userId="S::arg3669@ads.northwestern.edu::fc8b707a-b7e9-4f2a-8d71-2d76819b7881" providerId="AD" clId="Web-{A2BBF3AA-3DF7-D95C-3A8A-EFE75A763B08}" dt="2024-01-11T04:17:20.983" v="445"/>
        <pc:sldMkLst>
          <pc:docMk/>
          <pc:sldMk cId="3466460771" sldId="812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18:38.045" v="458"/>
        <pc:sldMkLst>
          <pc:docMk/>
          <pc:sldMk cId="1922340065" sldId="813"/>
        </pc:sldMkLst>
      </pc:sldChg>
      <pc:sldChg chg="addSp delSp modSp add del mod setBg">
        <pc:chgData name="Alana Rivera" userId="S::arg3669@ads.northwestern.edu::fc8b707a-b7e9-4f2a-8d71-2d76819b7881" providerId="AD" clId="Web-{A2BBF3AA-3DF7-D95C-3A8A-EFE75A763B08}" dt="2024-01-11T04:19:05.858" v="466"/>
        <pc:sldMkLst>
          <pc:docMk/>
          <pc:sldMk cId="2671650935" sldId="814"/>
        </pc:sldMkLst>
        <pc:spChg chg="mo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3" creationId="{AC2BB3A3-ADE2-0C44-760E-980744EA4419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4" creationId="{00000000-0000-0000-0000-000000000000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5" creationId="{00000000-0000-0000-0000-000000000000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6" creationId="{2364E342-A98E-4E6A-9ABE-E187A502C24F}"/>
          </ac:spMkLst>
        </pc:spChg>
        <pc:spChg chg="del">
          <ac:chgData name="Alana Rivera" userId="S::arg3669@ads.northwestern.edu::fc8b707a-b7e9-4f2a-8d71-2d76819b7881" providerId="AD" clId="Web-{A2BBF3AA-3DF7-D95C-3A8A-EFE75A763B08}" dt="2024-01-11T04:18:50.998" v="464"/>
          <ac:spMkLst>
            <pc:docMk/>
            <pc:sldMk cId="2671650935" sldId="814"/>
            <ac:spMk id="7" creationId="{2CC554EE-D164-B50E-1C27-DF280F11B694}"/>
          </ac:spMkLst>
        </pc:spChg>
        <pc:spChg chg="del mod replI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12" creationId="{00000000-0000-0000-0000-000000000000}"/>
          </ac:spMkLst>
        </pc:spChg>
        <pc:spChg chg="del mod replI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13" creationId="{00000000-0000-0000-0000-000000000000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15" creationId="{56E9B3E6-E277-4D68-BA48-9CB43FFBD6E2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19:05.858" v="466"/>
          <ac:spMkLst>
            <pc:docMk/>
            <pc:sldMk cId="2671650935" sldId="814"/>
            <ac:spMk id="22" creationId="{D5B0017B-2ECA-49AF-B397-DC140825DF8D}"/>
          </ac:spMkLst>
        </pc:spChg>
        <pc:grpChg chg="add">
          <ac:chgData name="Alana Rivera" userId="S::arg3669@ads.northwestern.edu::fc8b707a-b7e9-4f2a-8d71-2d76819b7881" providerId="AD" clId="Web-{A2BBF3AA-3DF7-D95C-3A8A-EFE75A763B08}" dt="2024-01-11T04:19:05.858" v="466"/>
          <ac:grpSpMkLst>
            <pc:docMk/>
            <pc:sldMk cId="2671650935" sldId="814"/>
            <ac:grpSpMk id="17" creationId="{AE1C45F0-260A-458C-96ED-C1F6D2151219}"/>
          </ac:grpSpMkLst>
        </pc:grpChg>
        <pc:picChg chg="mod">
          <ac:chgData name="Alana Rivera" userId="S::arg3669@ads.northwestern.edu::fc8b707a-b7e9-4f2a-8d71-2d76819b7881" providerId="AD" clId="Web-{A2BBF3AA-3DF7-D95C-3A8A-EFE75A763B08}" dt="2024-01-11T04:19:05.858" v="466"/>
          <ac:picMkLst>
            <pc:docMk/>
            <pc:sldMk cId="2671650935" sldId="814"/>
            <ac:picMk id="9" creationId="{B7680CAF-7645-BBD5-9950-24CE6E641F36}"/>
          </ac:picMkLst>
        </pc:picChg>
        <pc:picChg chg="mod">
          <ac:chgData name="Alana Rivera" userId="S::arg3669@ads.northwestern.edu::fc8b707a-b7e9-4f2a-8d71-2d76819b7881" providerId="AD" clId="Web-{A2BBF3AA-3DF7-D95C-3A8A-EFE75A763B08}" dt="2024-01-11T04:19:05.858" v="466"/>
          <ac:picMkLst>
            <pc:docMk/>
            <pc:sldMk cId="2671650935" sldId="814"/>
            <ac:picMk id="10" creationId="{87E1CB06-D4B6-034A-6E16-EE92C2DF95C2}"/>
          </ac:picMkLst>
        </pc:picChg>
        <pc:cxnChg chg="add">
          <ac:chgData name="Alana Rivera" userId="S::arg3669@ads.northwestern.edu::fc8b707a-b7e9-4f2a-8d71-2d76819b7881" providerId="AD" clId="Web-{A2BBF3AA-3DF7-D95C-3A8A-EFE75A763B08}" dt="2024-01-11T04:19:05.858" v="466"/>
          <ac:cxnSpMkLst>
            <pc:docMk/>
            <pc:sldMk cId="2671650935" sldId="814"/>
            <ac:cxnSpMk id="24" creationId="{6CF1BAF6-AD41-4082-B212-8A1F9A2E8779}"/>
          </ac:cxnSpMkLst>
        </pc:cxnChg>
      </pc:sldChg>
      <pc:sldChg chg="add del">
        <pc:chgData name="Alana Rivera" userId="S::arg3669@ads.northwestern.edu::fc8b707a-b7e9-4f2a-8d71-2d76819b7881" providerId="AD" clId="Web-{A2BBF3AA-3DF7-D95C-3A8A-EFE75A763B08}" dt="2024-01-11T04:18:38.780" v="460"/>
        <pc:sldMkLst>
          <pc:docMk/>
          <pc:sldMk cId="927697769" sldId="815"/>
        </pc:sldMkLst>
      </pc:sldChg>
      <pc:sldChg chg="delSp add del">
        <pc:chgData name="Alana Rivera" userId="S::arg3669@ads.northwestern.edu::fc8b707a-b7e9-4f2a-8d71-2d76819b7881" providerId="AD" clId="Web-{A2BBF3AA-3DF7-D95C-3A8A-EFE75A763B08}" dt="2024-01-11T04:19:23.936" v="467"/>
        <pc:sldMkLst>
          <pc:docMk/>
          <pc:sldMk cId="482405619" sldId="816"/>
        </pc:sldMkLst>
        <pc:spChg chg="del">
          <ac:chgData name="Alana Rivera" userId="S::arg3669@ads.northwestern.edu::fc8b707a-b7e9-4f2a-8d71-2d76819b7881" providerId="AD" clId="Web-{A2BBF3AA-3DF7-D95C-3A8A-EFE75A763B08}" dt="2024-01-11T04:19:23.936" v="467"/>
          <ac:spMkLst>
            <pc:docMk/>
            <pc:sldMk cId="482405619" sldId="816"/>
            <ac:spMk id="7" creationId="{4CE24098-08C1-6C74-C687-837523C65133}"/>
          </ac:spMkLst>
        </pc:spChg>
      </pc:sldChg>
      <pc:sldChg chg="addSp delSp modSp add del mod setBg">
        <pc:chgData name="Alana Rivera" userId="S::arg3669@ads.northwestern.edu::fc8b707a-b7e9-4f2a-8d71-2d76819b7881" providerId="AD" clId="Web-{A2BBF3AA-3DF7-D95C-3A8A-EFE75A763B08}" dt="2024-01-11T04:20:11.155" v="474" actId="14100"/>
        <pc:sldMkLst>
          <pc:docMk/>
          <pc:sldMk cId="3086930882" sldId="817"/>
        </pc:sldMkLst>
        <pc:spChg chg="mod">
          <ac:chgData name="Alana Rivera" userId="S::arg3669@ads.northwestern.edu::fc8b707a-b7e9-4f2a-8d71-2d76819b7881" providerId="AD" clId="Web-{A2BBF3AA-3DF7-D95C-3A8A-EFE75A763B08}" dt="2024-01-11T04:20:11.155" v="474" actId="14100"/>
          <ac:spMkLst>
            <pc:docMk/>
            <pc:sldMk cId="3086930882" sldId="817"/>
            <ac:spMk id="2" creationId="{603EAD7C-4320-86B7-F87F-2274EBC8053D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00.811" v="472"/>
          <ac:spMkLst>
            <pc:docMk/>
            <pc:sldMk cId="3086930882" sldId="817"/>
            <ac:spMk id="4" creationId="{691AE0EB-9D01-0F8F-04B2-5A044C2C6FC2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00.811" v="472"/>
          <ac:spMkLst>
            <pc:docMk/>
            <pc:sldMk cId="3086930882" sldId="817"/>
            <ac:spMk id="5" creationId="{21608E92-B032-7A36-E170-178A3B7D0CE4}"/>
          </ac:spMkLst>
        </pc:spChg>
        <pc:spChg chg="add del mod">
          <ac:chgData name="Alana Rivera" userId="S::arg3669@ads.northwestern.edu::fc8b707a-b7e9-4f2a-8d71-2d76819b7881" providerId="AD" clId="Web-{A2BBF3AA-3DF7-D95C-3A8A-EFE75A763B08}" dt="2024-01-11T04:20:04.967" v="473"/>
          <ac:spMkLst>
            <pc:docMk/>
            <pc:sldMk cId="3086930882" sldId="817"/>
            <ac:spMk id="11" creationId="{BFB41AD7-9374-400E-B3CA-CAF7FC826D33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00.780" v="471"/>
          <ac:spMkLst>
            <pc:docMk/>
            <pc:sldMk cId="3086930882" sldId="817"/>
            <ac:spMk id="18" creationId="{0DEDCC5D-8B8A-40DB-BE90-A3AA27C64A78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00.780" v="471"/>
          <ac:spMkLst>
            <pc:docMk/>
            <pc:sldMk cId="3086930882" sldId="817"/>
            <ac:spMk id="24" creationId="{CBC4F608-B4B8-48C3-9572-C0F061B1CD99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20:00.811" v="472"/>
          <ac:spMkLst>
            <pc:docMk/>
            <pc:sldMk cId="3086930882" sldId="817"/>
            <ac:spMk id="26" creationId="{9D8233B0-41B5-4D9A-AEEC-13DB66A8C9B5}"/>
          </ac:spMkLst>
        </pc:spChg>
        <pc:spChg chg="add">
          <ac:chgData name="Alana Rivera" userId="S::arg3669@ads.northwestern.edu::fc8b707a-b7e9-4f2a-8d71-2d76819b7881" providerId="AD" clId="Web-{A2BBF3AA-3DF7-D95C-3A8A-EFE75A763B08}" dt="2024-01-11T04:20:00.811" v="472"/>
          <ac:spMkLst>
            <pc:docMk/>
            <pc:sldMk cId="3086930882" sldId="817"/>
            <ac:spMk id="28" creationId="{E659831F-0D9A-4C63-9EBB-8435B85A440F}"/>
          </ac:spMkLst>
        </pc:spChg>
        <pc:grpChg chg="add del">
          <ac:chgData name="Alana Rivera" userId="S::arg3669@ads.northwestern.edu::fc8b707a-b7e9-4f2a-8d71-2d76819b7881" providerId="AD" clId="Web-{A2BBF3AA-3DF7-D95C-3A8A-EFE75A763B08}" dt="2024-01-11T04:20:00.780" v="471"/>
          <ac:grpSpMkLst>
            <pc:docMk/>
            <pc:sldMk cId="3086930882" sldId="817"/>
            <ac:grpSpMk id="20" creationId="{65167ED7-6315-43AB-B1B6-C326D5FD8F84}"/>
          </ac:grpSpMkLst>
        </pc:grpChg>
        <pc:grpChg chg="add">
          <ac:chgData name="Alana Rivera" userId="S::arg3669@ads.northwestern.edu::fc8b707a-b7e9-4f2a-8d71-2d76819b7881" providerId="AD" clId="Web-{A2BBF3AA-3DF7-D95C-3A8A-EFE75A763B08}" dt="2024-01-11T04:20:00.811" v="472"/>
          <ac:grpSpMkLst>
            <pc:docMk/>
            <pc:sldMk cId="3086930882" sldId="817"/>
            <ac:grpSpMk id="27" creationId="{28FAF094-D087-493F-8DF9-A486C2D6BBAA}"/>
          </ac:grpSpMkLst>
        </pc:grpChg>
        <pc:graphicFrameChg chg="mod">
          <ac:chgData name="Alana Rivera" userId="S::arg3669@ads.northwestern.edu::fc8b707a-b7e9-4f2a-8d71-2d76819b7881" providerId="AD" clId="Web-{A2BBF3AA-3DF7-D95C-3A8A-EFE75A763B08}" dt="2024-01-11T04:20:00.811" v="472"/>
          <ac:graphicFrameMkLst>
            <pc:docMk/>
            <pc:sldMk cId="3086930882" sldId="817"/>
            <ac:graphicFrameMk id="13" creationId="{A2CF655D-62BA-29BB-251B-20DD247576D9}"/>
          </ac:graphicFrameMkLst>
        </pc:graphicFrameChg>
      </pc:sldChg>
      <pc:sldChg chg="addSp delSp modSp add del mod setBg">
        <pc:chgData name="Alana Rivera" userId="S::arg3669@ads.northwestern.edu::fc8b707a-b7e9-4f2a-8d71-2d76819b7881" providerId="AD" clId="Web-{A2BBF3AA-3DF7-D95C-3A8A-EFE75A763B08}" dt="2024-01-11T04:20:32.874" v="479"/>
        <pc:sldMkLst>
          <pc:docMk/>
          <pc:sldMk cId="1043753431" sldId="818"/>
        </pc:sldMkLst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2" creationId="{BA75BE74-5B36-0420-A93F-5C1937822107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3" creationId="{60059713-46A7-4763-9867-B6E3A416D32A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4" creationId="{138E2158-53C9-D091-FAE8-48E74624BE78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5" creationId="{F86398E2-8A3B-92E0-EA1A-19F8FD5898D6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7" creationId="{E00656B7-FD29-67BE-E9FC-F37D3712E38F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8" creationId="{13CAFE03-8C56-D24A-721C-2FC2B7C95984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9" creationId="{2827874F-F995-0D52-0CF6-98272C933C0A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10" creationId="{622CE0BE-1E2B-67AE-B3D5-279A1B4B23F2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11" creationId="{5996BE25-B233-824A-885F-41D1D142B38A}"/>
          </ac:spMkLst>
        </pc:spChg>
        <pc:spChg chg="mod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12" creationId="{4BAA84E5-E3C9-12DF-4CEB-0AF90F50AD6C}"/>
          </ac:spMkLst>
        </pc:spChg>
        <pc:spChg chg="del">
          <ac:chgData name="Alana Rivera" userId="S::arg3669@ads.northwestern.edu::fc8b707a-b7e9-4f2a-8d71-2d76819b7881" providerId="AD" clId="Web-{A2BBF3AA-3DF7-D95C-3A8A-EFE75A763B08}" dt="2024-01-11T04:20:15.624" v="475"/>
          <ac:spMkLst>
            <pc:docMk/>
            <pc:sldMk cId="1043753431" sldId="818"/>
            <ac:spMk id="13" creationId="{488BED30-2A66-4F22-BE1A-2044C29C2578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25.843" v="477"/>
          <ac:spMkLst>
            <pc:docMk/>
            <pc:sldMk cId="1043753431" sldId="818"/>
            <ac:spMk id="18" creationId="{0DEDCC5D-8B8A-40DB-BE90-A3AA27C64A78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22" creationId="{AAD0DBB9-1A4B-4391-81D4-CB19F9AB918A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25.843" v="477"/>
          <ac:spMkLst>
            <pc:docMk/>
            <pc:sldMk cId="1043753431" sldId="818"/>
            <ac:spMk id="24" creationId="{CBC4F608-B4B8-48C3-9572-C0F061B1CD99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26" creationId="{BACC6370-2D7E-4714-9D71-7542949D7D5D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27" creationId="{F68B3F68-107C-434F-AA38-110D5EA91B85}"/>
          </ac:spMkLst>
        </pc:spChg>
        <pc:spChg chg="add del">
          <ac:chgData name="Alana Rivera" userId="S::arg3669@ads.northwestern.edu::fc8b707a-b7e9-4f2a-8d71-2d76819b7881" providerId="AD" clId="Web-{A2BBF3AA-3DF7-D95C-3A8A-EFE75A763B08}" dt="2024-01-11T04:20:32.874" v="479"/>
          <ac:spMkLst>
            <pc:docMk/>
            <pc:sldMk cId="1043753431" sldId="818"/>
            <ac:spMk id="28" creationId="{063BBA22-50EA-4C4D-BE05-F1CE4E63AA56}"/>
          </ac:spMkLst>
        </pc:spChg>
        <pc:grpChg chg="add del">
          <ac:chgData name="Alana Rivera" userId="S::arg3669@ads.northwestern.edu::fc8b707a-b7e9-4f2a-8d71-2d76819b7881" providerId="AD" clId="Web-{A2BBF3AA-3DF7-D95C-3A8A-EFE75A763B08}" dt="2024-01-11T04:20:25.843" v="477"/>
          <ac:grpSpMkLst>
            <pc:docMk/>
            <pc:sldMk cId="1043753431" sldId="818"/>
            <ac:grpSpMk id="20" creationId="{65167ED7-6315-43AB-B1B6-C326D5FD8F84}"/>
          </ac:grpSpMkLst>
        </pc:grpChg>
        <pc:picChg chg="mod">
          <ac:chgData name="Alana Rivera" userId="S::arg3669@ads.northwestern.edu::fc8b707a-b7e9-4f2a-8d71-2d76819b7881" providerId="AD" clId="Web-{A2BBF3AA-3DF7-D95C-3A8A-EFE75A763B08}" dt="2024-01-11T04:20:32.874" v="479"/>
          <ac:picMkLst>
            <pc:docMk/>
            <pc:sldMk cId="1043753431" sldId="818"/>
            <ac:picMk id="6" creationId="{FBBFFC26-22AC-EF70-792E-04135E76F3E6}"/>
          </ac:picMkLst>
        </pc:picChg>
      </pc:sldChg>
      <pc:sldChg chg="add del">
        <pc:chgData name="Alana Rivera" userId="S::arg3669@ads.northwestern.edu::fc8b707a-b7e9-4f2a-8d71-2d76819b7881" providerId="AD" clId="Web-{A2BBF3AA-3DF7-D95C-3A8A-EFE75A763B08}" dt="2024-01-11T04:21:35.610" v="487"/>
        <pc:sldMkLst>
          <pc:docMk/>
          <pc:sldMk cId="407364133" sldId="819"/>
        </pc:sldMkLst>
      </pc:sldChg>
      <pc:sldChg chg="add del">
        <pc:chgData name="Alana Rivera" userId="S::arg3669@ads.northwestern.edu::fc8b707a-b7e9-4f2a-8d71-2d76819b7881" providerId="AD" clId="Web-{A2BBF3AA-3DF7-D95C-3A8A-EFE75A763B08}" dt="2024-01-11T04:21:36.141" v="488"/>
        <pc:sldMkLst>
          <pc:docMk/>
          <pc:sldMk cId="1408370696" sldId="820"/>
        </pc:sldMkLst>
      </pc:sldChg>
      <pc:sldMasterChg chg="addSldLayout modSldLayout">
        <pc:chgData name="Alana Rivera" userId="S::arg3669@ads.northwestern.edu::fc8b707a-b7e9-4f2a-8d71-2d76819b7881" providerId="AD" clId="Web-{A2BBF3AA-3DF7-D95C-3A8A-EFE75A763B08}" dt="2024-01-11T04:18:38.780" v="460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617638659" sldId="214748392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407640099" sldId="214748392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3554029526" sldId="214748393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1342248109" sldId="214748400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1428249061" sldId="21474840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1515655145" sldId="214748400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2783045463" sldId="214748709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3102931972" sldId="214748709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413736809" sldId="214748711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3939256970" sldId="214748714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2636169937" sldId="21474871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2232763953" sldId="21474871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4042586765" sldId="214748719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3668834670" sldId="214748719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1754230464" sldId="214748720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3829198981" sldId="214748731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3:20:39.672" v="298"/>
          <pc:sldLayoutMkLst>
            <pc:docMk/>
            <pc:sldMasterMk cId="989504779" sldId="2147483734"/>
            <pc:sldLayoutMk cId="4290579671" sldId="214748731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576538025" sldId="214748812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724847678" sldId="214748812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083649414" sldId="214748812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97111013" sldId="214748812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000008366" sldId="214748813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318321361" sldId="214748813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559555195" sldId="214748813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741522953" sldId="214748813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08668804" sldId="214748813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801862111" sldId="214748813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957949696" sldId="214748813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96907520" sldId="214748813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362774728" sldId="214748813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783658486" sldId="214748813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459463894" sldId="214748814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543247745" sldId="214748814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069414299" sldId="214748814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069300124" sldId="214748814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855494103" sldId="214748814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993753234" sldId="214748814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430479694" sldId="214748814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80529727" sldId="214748814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91337409" sldId="214748814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80140117" sldId="214748815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314599787" sldId="214748815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791682188" sldId="214748815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80529727" sldId="214748815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437652033" sldId="214748815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103439267" sldId="214748815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377496322" sldId="214748815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847879164" sldId="214748815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479302691" sldId="214748815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35420318" sldId="214748816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665852557" sldId="214748816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26228292" sldId="214748816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803572776" sldId="214748816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339690513" sldId="214748816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630801759" sldId="214748816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709868767" sldId="214748816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80529727" sldId="214748817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91337409" sldId="214748817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075216660" sldId="214748817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059781530" sldId="214748817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39295337" sldId="214748817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02549073" sldId="214748817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375797758" sldId="214748817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10130633" sldId="214748817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698059872" sldId="214748817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98148766" sldId="214748817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610922533" sldId="214748818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01596344" sldId="214748818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193561641" sldId="214748818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845267698" sldId="214748818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175297497" sldId="214748818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578663217" sldId="214748818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820774020" sldId="214748818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834594192" sldId="214748818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356315279" sldId="214748818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100288109" sldId="214748818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796376101" sldId="214748819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892886451" sldId="214748819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806159376" sldId="214748819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088616943" sldId="214748819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246938417" sldId="214748819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483550571" sldId="214748819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220877040" sldId="214748819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58278594" sldId="214748819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89404483" sldId="214748819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03478424" sldId="214748819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859098044" sldId="214748820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945276364" sldId="214748820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618021461" sldId="214748820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675864542" sldId="214748820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978282302" sldId="214748820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37104982" sldId="214748820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795372134" sldId="214748820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217828020" sldId="214748820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627648628" sldId="214748820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326122543" sldId="214748820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462054694" sldId="214748821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29055294" sldId="214748821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86171260" sldId="214748821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080090535" sldId="214748821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27921214" sldId="214748821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41920976" sldId="214748821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635804420" sldId="2147488216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60585276" sldId="2147488217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2309666298" sldId="214748821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656760714" sldId="2147488219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935649411" sldId="2147488220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551432267" sldId="2147488221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480461207" sldId="2147488222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1873984959" sldId="214748822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989504779" sldId="2147483734"/>
            <pc:sldLayoutMk cId="3729066305" sldId="214748822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3478274380" sldId="2147488225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780" v="460"/>
          <pc:sldLayoutMkLst>
            <pc:docMk/>
            <pc:sldMasterMk cId="989504779" sldId="2147483734"/>
            <pc:sldLayoutMk cId="3308841809" sldId="2147488226"/>
          </pc:sldLayoutMkLst>
        </pc:sldLayoutChg>
      </pc:sldMasterChg>
      <pc:sldMasterChg chg="modSldLayout">
        <pc:chgData name="Alana Rivera" userId="S::arg3669@ads.northwestern.edu::fc8b707a-b7e9-4f2a-8d71-2d76819b7881" providerId="AD" clId="Web-{A2BBF3AA-3DF7-D95C-3A8A-EFE75A763B08}" dt="2024-01-11T04:18:38.045" v="458"/>
        <pc:sldMasterMkLst>
          <pc:docMk/>
          <pc:sldMasterMk cId="3029083726" sldId="2147484574"/>
        </pc:sldMasterMkLst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3029083726" sldId="2147484574"/>
            <pc:sldLayoutMk cId="351298652" sldId="2147488148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3029083726" sldId="2147484574"/>
            <pc:sldLayoutMk cId="1117489980" sldId="2147488163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3029083726" sldId="2147484574"/>
            <pc:sldLayoutMk cId="2419921863" sldId="2147488164"/>
          </pc:sldLayoutMkLst>
        </pc:sldLayoutChg>
        <pc:sldLayoutChg chg="replI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3029083726" sldId="2147484574"/>
            <pc:sldLayoutMk cId="2869148103" sldId="2147488165"/>
          </pc:sldLayoutMkLst>
        </pc:sldLayoutChg>
      </pc:sldMasterChg>
      <pc:sldMasterChg chg="add addSldLayout">
        <pc:chgData name="Alana Rivera" userId="S::arg3669@ads.northwestern.edu::fc8b707a-b7e9-4f2a-8d71-2d76819b7881" providerId="AD" clId="Web-{A2BBF3AA-3DF7-D95C-3A8A-EFE75A763B08}" dt="2024-01-11T04:18:38.045" v="458"/>
        <pc:sldMasterMkLst>
          <pc:docMk/>
          <pc:sldMasterMk cId="0" sldId="2147487275"/>
        </pc:sldMasterMkLst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67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67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0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0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0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1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1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2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3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3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3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3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3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4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6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7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7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7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7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7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8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8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8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79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0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1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1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1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2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4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4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4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4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6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7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8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89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0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1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392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6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7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7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8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8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9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0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10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11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13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13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4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4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4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635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7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7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7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7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8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29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0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0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0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1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1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1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1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1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2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4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5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5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5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5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5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6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6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6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6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7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8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8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8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39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0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0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0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0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0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1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2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2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2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2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2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3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4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5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46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2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3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3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3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3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4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4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4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4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5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2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3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4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5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6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7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8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89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90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91"/>
          </pc:sldLayoutMkLst>
        </pc:sldLayoutChg>
        <pc:sldLayoutChg chg="add">
          <pc:chgData name="Alana Rivera" userId="S::arg3669@ads.northwestern.edu::fc8b707a-b7e9-4f2a-8d71-2d76819b7881" providerId="AD" clId="Web-{A2BBF3AA-3DF7-D95C-3A8A-EFE75A763B08}" dt="2024-01-11T04:18:38.045" v="458"/>
          <pc:sldLayoutMkLst>
            <pc:docMk/>
            <pc:sldMasterMk cId="0" sldId="2147487275"/>
            <pc:sldLayoutMk cId="0" sldId="2147487592"/>
          </pc:sldLayoutMkLst>
        </pc:sldLayoutChg>
      </pc:sldMasterChg>
      <pc:sldMasterChg chg="replId">
        <pc:chgData name="Alana Rivera" userId="S::arg3669@ads.northwestern.edu::fc8b707a-b7e9-4f2a-8d71-2d76819b7881" providerId="AD" clId="Web-{A2BBF3AA-3DF7-D95C-3A8A-EFE75A763B08}" dt="2024-01-11T04:18:38.045" v="458"/>
        <pc:sldMasterMkLst>
          <pc:docMk/>
          <pc:sldMasterMk cId="3522102921" sldId="2147488151"/>
        </pc:sldMasterMkLst>
      </pc:sldMasterChg>
    </pc:docChg>
  </pc:docChgLst>
  <pc:docChgLst>
    <pc:chgData name="Alana Rivera" userId="S::arg3669@ads.northwestern.edu::fc8b707a-b7e9-4f2a-8d71-2d76819b7881" providerId="AD" clId="Web-{EE315C10-2636-64D2-D0B7-0C067FB2FFC2}"/>
    <pc:docChg chg="addSld delSld modSld">
      <pc:chgData name="Alana Rivera" userId="S::arg3669@ads.northwestern.edu::fc8b707a-b7e9-4f2a-8d71-2d76819b7881" providerId="AD" clId="Web-{EE315C10-2636-64D2-D0B7-0C067FB2FFC2}" dt="2022-09-16T15:51:24.599" v="30"/>
      <pc:docMkLst>
        <pc:docMk/>
      </pc:docMkLst>
      <pc:sldChg chg="del">
        <pc:chgData name="Alana Rivera" userId="S::arg3669@ads.northwestern.edu::fc8b707a-b7e9-4f2a-8d71-2d76819b7881" providerId="AD" clId="Web-{EE315C10-2636-64D2-D0B7-0C067FB2FFC2}" dt="2022-09-16T15:51:21.146" v="28"/>
        <pc:sldMkLst>
          <pc:docMk/>
          <pc:sldMk cId="2168119420" sldId="594"/>
        </pc:sldMkLst>
      </pc:sldChg>
      <pc:sldChg chg="del">
        <pc:chgData name="Alana Rivera" userId="S::arg3669@ads.northwestern.edu::fc8b707a-b7e9-4f2a-8d71-2d76819b7881" providerId="AD" clId="Web-{EE315C10-2636-64D2-D0B7-0C067FB2FFC2}" dt="2022-09-16T15:51:22.115" v="29"/>
        <pc:sldMkLst>
          <pc:docMk/>
          <pc:sldMk cId="1358389240" sldId="595"/>
        </pc:sldMkLst>
      </pc:sldChg>
      <pc:sldChg chg="del">
        <pc:chgData name="Alana Rivera" userId="S::arg3669@ads.northwestern.edu::fc8b707a-b7e9-4f2a-8d71-2d76819b7881" providerId="AD" clId="Web-{EE315C10-2636-64D2-D0B7-0C067FB2FFC2}" dt="2022-09-16T15:51:24.599" v="30"/>
        <pc:sldMkLst>
          <pc:docMk/>
          <pc:sldMk cId="2231123684" sldId="596"/>
        </pc:sldMkLst>
      </pc:sldChg>
      <pc:sldChg chg="del">
        <pc:chgData name="Alana Rivera" userId="S::arg3669@ads.northwestern.edu::fc8b707a-b7e9-4f2a-8d71-2d76819b7881" providerId="AD" clId="Web-{EE315C10-2636-64D2-D0B7-0C067FB2FFC2}" dt="2022-09-16T15:48:50.719" v="27"/>
        <pc:sldMkLst>
          <pc:docMk/>
          <pc:sldMk cId="3042670884" sldId="613"/>
        </pc:sldMkLst>
      </pc:sldChg>
      <pc:sldChg chg="del">
        <pc:chgData name="Alana Rivera" userId="S::arg3669@ads.northwestern.edu::fc8b707a-b7e9-4f2a-8d71-2d76819b7881" providerId="AD" clId="Web-{EE315C10-2636-64D2-D0B7-0C067FB2FFC2}" dt="2022-09-16T15:46:56.324" v="2"/>
        <pc:sldMkLst>
          <pc:docMk/>
          <pc:sldMk cId="4162737995" sldId="616"/>
        </pc:sldMkLst>
      </pc:sldChg>
      <pc:sldChg chg="del">
        <pc:chgData name="Alana Rivera" userId="S::arg3669@ads.northwestern.edu::fc8b707a-b7e9-4f2a-8d71-2d76819b7881" providerId="AD" clId="Web-{EE315C10-2636-64D2-D0B7-0C067FB2FFC2}" dt="2022-09-16T15:46:55.699" v="1"/>
        <pc:sldMkLst>
          <pc:docMk/>
          <pc:sldMk cId="2545754177" sldId="617"/>
        </pc:sldMkLst>
      </pc:sldChg>
      <pc:sldChg chg="del">
        <pc:chgData name="Alana Rivera" userId="S::arg3669@ads.northwestern.edu::fc8b707a-b7e9-4f2a-8d71-2d76819b7881" providerId="AD" clId="Web-{EE315C10-2636-64D2-D0B7-0C067FB2FFC2}" dt="2022-09-16T15:46:54.433" v="0"/>
        <pc:sldMkLst>
          <pc:docMk/>
          <pc:sldMk cId="2509819331" sldId="618"/>
        </pc:sldMkLst>
      </pc:sldChg>
      <pc:sldChg chg="del">
        <pc:chgData name="Alana Rivera" userId="S::arg3669@ads.northwestern.edu::fc8b707a-b7e9-4f2a-8d71-2d76819b7881" providerId="AD" clId="Web-{EE315C10-2636-64D2-D0B7-0C067FB2FFC2}" dt="2022-09-16T15:48:18.170" v="26"/>
        <pc:sldMkLst>
          <pc:docMk/>
          <pc:sldMk cId="3347016268" sldId="625"/>
        </pc:sldMkLst>
      </pc:sldChg>
      <pc:sldChg chg="modSp new">
        <pc:chgData name="Alana Rivera" userId="S::arg3669@ads.northwestern.edu::fc8b707a-b7e9-4f2a-8d71-2d76819b7881" providerId="AD" clId="Web-{EE315C10-2636-64D2-D0B7-0C067FB2FFC2}" dt="2022-09-16T15:47:09.168" v="25" actId="20577"/>
        <pc:sldMkLst>
          <pc:docMk/>
          <pc:sldMk cId="2653181176" sldId="636"/>
        </pc:sldMkLst>
        <pc:spChg chg="mod">
          <ac:chgData name="Alana Rivera" userId="S::arg3669@ads.northwestern.edu::fc8b707a-b7e9-4f2a-8d71-2d76819b7881" providerId="AD" clId="Web-{EE315C10-2636-64D2-D0B7-0C067FB2FFC2}" dt="2022-09-16T15:47:09.168" v="25" actId="20577"/>
          <ac:spMkLst>
            <pc:docMk/>
            <pc:sldMk cId="2653181176" sldId="636"/>
            <ac:spMk id="2" creationId="{44B40FCB-C799-206D-C777-0771BD6FBE5B}"/>
          </ac:spMkLst>
        </pc:spChg>
      </pc:sldChg>
    </pc:docChg>
  </pc:docChgLst>
  <pc:docChgLst>
    <pc:chgData name="Alana Rivera" userId="S::arg3669@ads.northwestern.edu::fc8b707a-b7e9-4f2a-8d71-2d76819b7881" providerId="AD" clId="Web-{DA57E2F0-F474-9BFC-0E2C-37BF71188F6F}"/>
    <pc:docChg chg="modSld">
      <pc:chgData name="Alana Rivera" userId="S::arg3669@ads.northwestern.edu::fc8b707a-b7e9-4f2a-8d71-2d76819b7881" providerId="AD" clId="Web-{DA57E2F0-F474-9BFC-0E2C-37BF71188F6F}" dt="2024-01-18T19:14:19.066" v="38"/>
      <pc:docMkLst>
        <pc:docMk/>
      </pc:docMkLst>
      <pc:sldChg chg="delCm">
        <pc:chgData name="Alana Rivera" userId="S::arg3669@ads.northwestern.edu::fc8b707a-b7e9-4f2a-8d71-2d76819b7881" providerId="AD" clId="Web-{DA57E2F0-F474-9BFC-0E2C-37BF71188F6F}" dt="2024-01-18T19:03:34.314" v="0"/>
        <pc:sldMkLst>
          <pc:docMk/>
          <pc:sldMk cId="196190430" sldId="6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DA57E2F0-F474-9BFC-0E2C-37BF71188F6F}" dt="2024-01-18T19:03:34.314" v="0"/>
              <pc2:cmMkLst xmlns:pc2="http://schemas.microsoft.com/office/powerpoint/2019/9/main/command">
                <pc:docMk/>
                <pc:sldMk cId="196190430" sldId="645"/>
                <pc2:cmMk id="{938B9BB9-4A58-44B8-B282-AFE2FE114C36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DA57E2F0-F474-9BFC-0E2C-37BF71188F6F}" dt="2024-01-18T19:14:19.066" v="38"/>
        <pc:sldMkLst>
          <pc:docMk/>
          <pc:sldMk cId="1112372070" sldId="824"/>
        </pc:sldMkLst>
        <pc:graphicFrameChg chg="mod modGraphic">
          <ac:chgData name="Alana Rivera" userId="S::arg3669@ads.northwestern.edu::fc8b707a-b7e9-4f2a-8d71-2d76819b7881" providerId="AD" clId="Web-{DA57E2F0-F474-9BFC-0E2C-37BF71188F6F}" dt="2024-01-18T19:14:19.066" v="38"/>
          <ac:graphicFrameMkLst>
            <pc:docMk/>
            <pc:sldMk cId="1112372070" sldId="824"/>
            <ac:graphicFrameMk id="6" creationId="{CA77166E-2DEA-18B6-9D40-352B79C31291}"/>
          </ac:graphicFrameMkLst>
        </pc:graphicFrameChg>
      </pc:sldChg>
    </pc:docChg>
  </pc:docChgLst>
  <pc:docChgLst>
    <pc:chgData name="Alana Rivera" userId="S::arg3669@ads.northwestern.edu::fc8b707a-b7e9-4f2a-8d71-2d76819b7881" providerId="AD" clId="Web-{2491427C-9785-893E-C4AE-3A43D798D3EA}"/>
    <pc:docChg chg="delSld modSld">
      <pc:chgData name="Alana Rivera" userId="S::arg3669@ads.northwestern.edu::fc8b707a-b7e9-4f2a-8d71-2d76819b7881" providerId="AD" clId="Web-{2491427C-9785-893E-C4AE-3A43D798D3EA}" dt="2023-02-08T19:24:08.125" v="317"/>
      <pc:docMkLst>
        <pc:docMk/>
      </pc:docMkLst>
      <pc:sldChg chg="modSp">
        <pc:chgData name="Alana Rivera" userId="S::arg3669@ads.northwestern.edu::fc8b707a-b7e9-4f2a-8d71-2d76819b7881" providerId="AD" clId="Web-{2491427C-9785-893E-C4AE-3A43D798D3EA}" dt="2023-02-08T19:09:54.299" v="4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2491427C-9785-893E-C4AE-3A43D798D3EA}" dt="2023-02-08T19:09:54.299" v="4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modSp addCm">
        <pc:chgData name="Alana Rivera" userId="S::arg3669@ads.northwestern.edu::fc8b707a-b7e9-4f2a-8d71-2d76819b7881" providerId="AD" clId="Web-{2491427C-9785-893E-C4AE-3A43D798D3EA}" dt="2023-02-08T19:12:50.618" v="10"/>
        <pc:sldMkLst>
          <pc:docMk/>
          <pc:sldMk cId="2880533216" sldId="654"/>
        </pc:sldMkLst>
        <pc:spChg chg="mod">
          <ac:chgData name="Alana Rivera" userId="S::arg3669@ads.northwestern.edu::fc8b707a-b7e9-4f2a-8d71-2d76819b7881" providerId="AD" clId="Web-{2491427C-9785-893E-C4AE-3A43D798D3EA}" dt="2023-02-08T19:11:35.522" v="6"/>
          <ac:spMkLst>
            <pc:docMk/>
            <pc:sldMk cId="2880533216" sldId="654"/>
            <ac:spMk id="2" creationId="{16817803-E785-34FC-07CE-0897747A535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2:50.618" v="10"/>
              <pc2:cmMkLst xmlns:pc2="http://schemas.microsoft.com/office/powerpoint/2019/9/main/command">
                <pc:docMk/>
                <pc:sldMk cId="2880533216" sldId="654"/>
                <pc2:cmMk id="{EE93035F-C46B-4C1E-B1C0-E7568A8746F5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2491427C-9785-893E-C4AE-3A43D798D3EA}" dt="2023-02-08T19:21:40.636" v="227"/>
        <pc:sldMkLst>
          <pc:docMk/>
          <pc:sldMk cId="2179344909" sldId="667"/>
        </pc:sldMkLst>
        <pc:spChg chg="mod">
          <ac:chgData name="Alana Rivera" userId="S::arg3669@ads.northwestern.edu::fc8b707a-b7e9-4f2a-8d71-2d76819b7881" providerId="AD" clId="Web-{2491427C-9785-893E-C4AE-3A43D798D3EA}" dt="2023-02-08T19:21:16.041" v="160" actId="20577"/>
          <ac:spMkLst>
            <pc:docMk/>
            <pc:sldMk cId="2179344909" sldId="667"/>
            <ac:spMk id="2" creationId="{00000000-0000-0000-0000-000000000000}"/>
          </ac:spMkLst>
        </pc:spChg>
        <pc:graphicFrameChg chg="mod modGraphic">
          <ac:chgData name="Alana Rivera" userId="S::arg3669@ads.northwestern.edu::fc8b707a-b7e9-4f2a-8d71-2d76819b7881" providerId="AD" clId="Web-{2491427C-9785-893E-C4AE-3A43D798D3EA}" dt="2023-02-08T19:21:40.636" v="227"/>
          <ac:graphicFrameMkLst>
            <pc:docMk/>
            <pc:sldMk cId="2179344909" sldId="667"/>
            <ac:graphicFrameMk id="6" creationId="{4EB21917-3091-CB43-A4C2-56C90035CAC0}"/>
          </ac:graphicFrameMkLst>
        </pc:graphicFrameChg>
      </pc:sldChg>
      <pc:sldChg chg="modSp">
        <pc:chgData name="Alana Rivera" userId="S::arg3669@ads.northwestern.edu::fc8b707a-b7e9-4f2a-8d71-2d76819b7881" providerId="AD" clId="Web-{2491427C-9785-893E-C4AE-3A43D798D3EA}" dt="2023-02-08T19:21:03.603" v="144" actId="20577"/>
        <pc:sldMkLst>
          <pc:docMk/>
          <pc:sldMk cId="777408379" sldId="671"/>
        </pc:sldMkLst>
        <pc:spChg chg="mod">
          <ac:chgData name="Alana Rivera" userId="S::arg3669@ads.northwestern.edu::fc8b707a-b7e9-4f2a-8d71-2d76819b7881" providerId="AD" clId="Web-{2491427C-9785-893E-C4AE-3A43D798D3EA}" dt="2023-02-08T19:21:03.603" v="144" actId="20577"/>
          <ac:spMkLst>
            <pc:docMk/>
            <pc:sldMk cId="777408379" sldId="671"/>
            <ac:spMk id="2" creationId="{8DA65B7D-6357-F0A1-4ACA-818B5F3700C0}"/>
          </ac:spMkLst>
        </pc:spChg>
        <pc:spChg chg="mod">
          <ac:chgData name="Alana Rivera" userId="S::arg3669@ads.northwestern.edu::fc8b707a-b7e9-4f2a-8d71-2d76819b7881" providerId="AD" clId="Web-{2491427C-9785-893E-C4AE-3A43D798D3EA}" dt="2023-02-08T19:15:33.687" v="79" actId="14100"/>
          <ac:spMkLst>
            <pc:docMk/>
            <pc:sldMk cId="777408379" sldId="671"/>
            <ac:spMk id="3" creationId="{00000000-0000-0000-0000-000000000000}"/>
          </ac:spMkLst>
        </pc:spChg>
        <pc:graphicFrameChg chg="mod modGraphic">
          <ac:chgData name="Alana Rivera" userId="S::arg3669@ads.northwestern.edu::fc8b707a-b7e9-4f2a-8d71-2d76819b7881" providerId="AD" clId="Web-{2491427C-9785-893E-C4AE-3A43D798D3EA}" dt="2023-02-08T19:16:05.296" v="112"/>
          <ac:graphicFrameMkLst>
            <pc:docMk/>
            <pc:sldMk cId="777408379" sldId="671"/>
            <ac:graphicFrameMk id="6" creationId="{4A5DC85B-9F27-AF23-5D97-3D04C5A4E30D}"/>
          </ac:graphicFrameMkLst>
        </pc:graphicFrameChg>
      </pc:sldChg>
      <pc:sldChg chg="modSp addCm">
        <pc:chgData name="Alana Rivera" userId="S::arg3669@ads.northwestern.edu::fc8b707a-b7e9-4f2a-8d71-2d76819b7881" providerId="AD" clId="Web-{2491427C-9785-893E-C4AE-3A43D798D3EA}" dt="2023-02-08T19:12:07.429" v="9"/>
        <pc:sldMkLst>
          <pc:docMk/>
          <pc:sldMk cId="248905733" sldId="685"/>
        </pc:sldMkLst>
        <pc:spChg chg="mod">
          <ac:chgData name="Alana Rivera" userId="S::arg3669@ads.northwestern.edu::fc8b707a-b7e9-4f2a-8d71-2d76819b7881" providerId="AD" clId="Web-{2491427C-9785-893E-C4AE-3A43D798D3EA}" dt="2023-02-08T19:11:30.443" v="5"/>
          <ac:spMkLst>
            <pc:docMk/>
            <pc:sldMk cId="248905733" sldId="685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2:07.429" v="9"/>
              <pc2:cmMkLst xmlns:pc2="http://schemas.microsoft.com/office/powerpoint/2019/9/main/command">
                <pc:docMk/>
                <pc:sldMk cId="248905733" sldId="685"/>
                <pc2:cmMk id="{9CB911B3-A9FF-473C-A8E4-447BDC80B7C6}"/>
              </pc2:cmMkLst>
            </pc226:cmChg>
          </p:ext>
        </pc:extLst>
      </pc:sldChg>
      <pc:sldChg chg="delSp modSp addCm">
        <pc:chgData name="Alana Rivera" userId="S::arg3669@ads.northwestern.edu::fc8b707a-b7e9-4f2a-8d71-2d76819b7881" providerId="AD" clId="Web-{2491427C-9785-893E-C4AE-3A43D798D3EA}" dt="2023-02-08T19:13:17.775" v="11"/>
        <pc:sldMkLst>
          <pc:docMk/>
          <pc:sldMk cId="1618859033" sldId="693"/>
        </pc:sldMkLst>
        <pc:spChg chg="mod">
          <ac:chgData name="Alana Rivera" userId="S::arg3669@ads.northwestern.edu::fc8b707a-b7e9-4f2a-8d71-2d76819b7881" providerId="AD" clId="Web-{2491427C-9785-893E-C4AE-3A43D798D3EA}" dt="2023-02-08T19:11:41.928" v="8"/>
          <ac:spMkLst>
            <pc:docMk/>
            <pc:sldMk cId="1618859033" sldId="693"/>
            <ac:spMk id="2" creationId="{7719FD7A-7B92-EC42-6554-FA310B6714B1}"/>
          </ac:spMkLst>
        </pc:spChg>
        <pc:picChg chg="del">
          <ac:chgData name="Alana Rivera" userId="S::arg3669@ads.northwestern.edu::fc8b707a-b7e9-4f2a-8d71-2d76819b7881" providerId="AD" clId="Web-{2491427C-9785-893E-C4AE-3A43D798D3EA}" dt="2023-02-08T19:11:38.709" v="7"/>
          <ac:picMkLst>
            <pc:docMk/>
            <pc:sldMk cId="1618859033" sldId="693"/>
            <ac:picMk id="7" creationId="{7168CC8E-D8A7-E3A6-1171-D0E932415E8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3:17.775" v="11"/>
              <pc2:cmMkLst xmlns:pc2="http://schemas.microsoft.com/office/powerpoint/2019/9/main/command">
                <pc:docMk/>
                <pc:sldMk cId="1618859033" sldId="693"/>
                <pc2:cmMk id="{D64AFCAA-4850-4104-B79D-8D172F24BB30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2491427C-9785-893E-C4AE-3A43D798D3EA}" dt="2023-02-08T19:20:18.258" v="122"/>
        <pc:sldMkLst>
          <pc:docMk/>
          <pc:sldMk cId="2990569153" sldId="696"/>
        </pc:sldMkLst>
      </pc:sldChg>
      <pc:sldChg chg="modSp addCm">
        <pc:chgData name="Alana Rivera" userId="S::arg3669@ads.northwestern.edu::fc8b707a-b7e9-4f2a-8d71-2d76819b7881" providerId="AD" clId="Web-{2491427C-9785-893E-C4AE-3A43D798D3EA}" dt="2023-02-08T19:20:09.492" v="121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2491427C-9785-893E-C4AE-3A43D798D3EA}" dt="2023-02-08T19:20:09.492" v="121"/>
          <ac:spMkLst>
            <pc:docMk/>
            <pc:sldMk cId="3682438970" sldId="698"/>
            <ac:spMk id="2" creationId="{7719FD7A-7B92-EC42-6554-FA310B6714B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20:06.914" v="120"/>
              <pc2:cmMkLst xmlns:pc2="http://schemas.microsoft.com/office/powerpoint/2019/9/main/command">
                <pc:docMk/>
                <pc:sldMk cId="3682438970" sldId="698"/>
                <pc2:cmMk id="{B3138629-38E0-4816-9727-2850E66E2C98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2491427C-9785-893E-C4AE-3A43D798D3EA}" dt="2023-02-08T19:19:34.178" v="119"/>
        <pc:sldMkLst>
          <pc:docMk/>
          <pc:sldMk cId="3366786566" sldId="699"/>
        </pc:sldMkLst>
        <pc:spChg chg="mod">
          <ac:chgData name="Alana Rivera" userId="S::arg3669@ads.northwestern.edu::fc8b707a-b7e9-4f2a-8d71-2d76819b7881" providerId="AD" clId="Web-{2491427C-9785-893E-C4AE-3A43D798D3EA}" dt="2023-02-08T19:19:05.709" v="118"/>
          <ac:spMkLst>
            <pc:docMk/>
            <pc:sldMk cId="3366786566" sldId="699"/>
            <ac:spMk id="2" creationId="{054A4674-3AFF-41C5-AE3C-B935BDCD9ED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9:34.178" v="119"/>
              <pc2:cmMkLst xmlns:pc2="http://schemas.microsoft.com/office/powerpoint/2019/9/main/command">
                <pc:docMk/>
                <pc:sldMk cId="3366786566" sldId="699"/>
                <pc2:cmMk id="{5135926C-743B-4F6F-8E49-9C38797F7A0A}"/>
              </pc2:cmMkLst>
            </pc226:cmChg>
          </p:ext>
        </pc:extLst>
      </pc:sldChg>
      <pc:sldChg chg="delSp modSp addCm">
        <pc:chgData name="Alana Rivera" userId="S::arg3669@ads.northwestern.edu::fc8b707a-b7e9-4f2a-8d71-2d76819b7881" providerId="AD" clId="Web-{2491427C-9785-893E-C4AE-3A43D798D3EA}" dt="2023-02-08T19:18:53.708" v="117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2491427C-9785-893E-C4AE-3A43D798D3EA}" dt="2023-02-08T19:17:36.518" v="113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ana Rivera" userId="S::arg3669@ads.northwestern.edu::fc8b707a-b7e9-4f2a-8d71-2d76819b7881" providerId="AD" clId="Web-{2491427C-9785-893E-C4AE-3A43D798D3EA}" dt="2023-02-08T19:18:28.754" v="115" actId="1076"/>
          <ac:spMkLst>
            <pc:docMk/>
            <pc:sldMk cId="149255822" sldId="700"/>
            <ac:spMk id="6" creationId="{1B118A30-D372-1791-AC9D-F862CEE17DE5}"/>
          </ac:spMkLst>
        </pc:spChg>
        <pc:picChg chg="del">
          <ac:chgData name="Alana Rivera" userId="S::arg3669@ads.northwestern.edu::fc8b707a-b7e9-4f2a-8d71-2d76819b7881" providerId="AD" clId="Web-{2491427C-9785-893E-C4AE-3A43D798D3EA}" dt="2023-02-08T19:18:25.879" v="114"/>
          <ac:picMkLst>
            <pc:docMk/>
            <pc:sldMk cId="149255822" sldId="700"/>
            <ac:picMk id="7" creationId="{7A196FA8-B96F-E16C-A3BA-B137AC79C69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8:53.708" v="117"/>
              <pc2:cmMkLst xmlns:pc2="http://schemas.microsoft.com/office/powerpoint/2019/9/main/command">
                <pc:docMk/>
                <pc:sldMk cId="149255822" sldId="700"/>
                <pc2:cmMk id="{5EF119DC-CC48-46C5-BDFD-2AEE0D0A7BCB}"/>
              </pc2:cmMkLst>
            </pc226:cmChg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18:30.973" v="116"/>
              <pc2:cmMkLst xmlns:pc2="http://schemas.microsoft.com/office/powerpoint/2019/9/main/command">
                <pc:docMk/>
                <pc:sldMk cId="149255822" sldId="700"/>
                <pc2:cmMk id="{43B5DDF5-3B44-470F-BABA-05FCAA981081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2491427C-9785-893E-C4AE-3A43D798D3EA}" dt="2023-02-08T19:23:04.545" v="315"/>
        <pc:sldMkLst>
          <pc:docMk/>
          <pc:sldMk cId="1321989229" sldId="708"/>
        </pc:sldMkLst>
        <pc:spChg chg="mod">
          <ac:chgData name="Alana Rivera" userId="S::arg3669@ads.northwestern.edu::fc8b707a-b7e9-4f2a-8d71-2d76819b7881" providerId="AD" clId="Web-{2491427C-9785-893E-C4AE-3A43D798D3EA}" dt="2023-02-08T19:22:34.403" v="252" actId="20577"/>
          <ac:spMkLst>
            <pc:docMk/>
            <pc:sldMk cId="1321989229" sldId="708"/>
            <ac:spMk id="2" creationId="{00000000-0000-0000-0000-000000000000}"/>
          </ac:spMkLst>
        </pc:spChg>
        <pc:graphicFrameChg chg="mod modGraphic">
          <ac:chgData name="Alana Rivera" userId="S::arg3669@ads.northwestern.edu::fc8b707a-b7e9-4f2a-8d71-2d76819b7881" providerId="AD" clId="Web-{2491427C-9785-893E-C4AE-3A43D798D3EA}" dt="2023-02-08T19:23:04.545" v="315"/>
          <ac:graphicFrameMkLst>
            <pc:docMk/>
            <pc:sldMk cId="1321989229" sldId="708"/>
            <ac:graphicFrameMk id="7" creationId="{B0AB755A-CFDB-CB12-C9A4-1B8DFB38A37D}"/>
          </ac:graphicFrameMkLst>
        </pc:graphicFrameChg>
      </pc:sldChg>
      <pc:sldChg chg="modSp addCm">
        <pc:chgData name="Alana Rivera" userId="S::arg3669@ads.northwestern.edu::fc8b707a-b7e9-4f2a-8d71-2d76819b7881" providerId="AD" clId="Web-{2491427C-9785-893E-C4AE-3A43D798D3EA}" dt="2023-02-08T19:24:08.125" v="317"/>
        <pc:sldMkLst>
          <pc:docMk/>
          <pc:sldMk cId="1127716331" sldId="712"/>
        </pc:sldMkLst>
        <pc:spChg chg="mod">
          <ac:chgData name="Alana Rivera" userId="S::arg3669@ads.northwestern.edu::fc8b707a-b7e9-4f2a-8d71-2d76819b7881" providerId="AD" clId="Web-{2491427C-9785-893E-C4AE-3A43D798D3EA}" dt="2023-02-08T19:21:52.027" v="229"/>
          <ac:spMkLst>
            <pc:docMk/>
            <pc:sldMk cId="1127716331" sldId="712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24:08.125" v="317"/>
              <pc2:cmMkLst xmlns:pc2="http://schemas.microsoft.com/office/powerpoint/2019/9/main/command">
                <pc:docMk/>
                <pc:sldMk cId="1127716331" sldId="712"/>
                <pc2:cmMk id="{1D78414E-12F1-4F98-8C91-6DE73FF01049}"/>
              </pc2:cmMkLst>
            </pc226:cmChg>
          </p:ext>
        </pc:extLst>
      </pc:sldChg>
      <pc:sldChg chg="modSp addCm">
        <pc:chgData name="Alana Rivera" userId="S::arg3669@ads.northwestern.edu::fc8b707a-b7e9-4f2a-8d71-2d76819b7881" providerId="AD" clId="Web-{2491427C-9785-893E-C4AE-3A43D798D3EA}" dt="2023-02-08T19:23:27.077" v="316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2491427C-9785-893E-C4AE-3A43D798D3EA}" dt="2023-02-08T19:21:47.449" v="228"/>
          <ac:spMkLst>
            <pc:docMk/>
            <pc:sldMk cId="1886867389" sldId="713"/>
            <ac:spMk id="2" creationId="{7719FD7A-7B92-EC42-6554-FA310B6714B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2491427C-9785-893E-C4AE-3A43D798D3EA}" dt="2023-02-08T19:23:27.077" v="316"/>
              <pc2:cmMkLst xmlns:pc2="http://schemas.microsoft.com/office/powerpoint/2019/9/main/command">
                <pc:docMk/>
                <pc:sldMk cId="1886867389" sldId="713"/>
                <pc2:cmMk id="{215A7BE2-A4E4-4329-ABAD-A6F9D7715777}"/>
              </pc2:cmMkLst>
            </pc226:cmChg>
          </p:ext>
        </pc:extLst>
      </pc:sldChg>
    </pc:docChg>
  </pc:docChgLst>
  <pc:docChgLst>
    <pc:chgData name="Daniel L Weiss" userId="S::dlw2885@ads.northwestern.edu::9eb720c2-52d8-4896-8792-48826e9f92f5" providerId="AD" clId="Web-{9F04AE85-5DB0-664B-0E79-F2F19EC48FA1}"/>
    <pc:docChg chg="modSld">
      <pc:chgData name="Daniel L Weiss" userId="S::dlw2885@ads.northwestern.edu::9eb720c2-52d8-4896-8792-48826e9f92f5" providerId="AD" clId="Web-{9F04AE85-5DB0-664B-0E79-F2F19EC48FA1}" dt="2023-02-10T20:15:40.046" v="16" actId="20577"/>
      <pc:docMkLst>
        <pc:docMk/>
      </pc:docMkLst>
      <pc:sldChg chg="modSp delCm">
        <pc:chgData name="Daniel L Weiss" userId="S::dlw2885@ads.northwestern.edu::9eb720c2-52d8-4896-8792-48826e9f92f5" providerId="AD" clId="Web-{9F04AE85-5DB0-664B-0E79-F2F19EC48FA1}" dt="2023-02-10T20:15:40.046" v="16" actId="20577"/>
        <pc:sldMkLst>
          <pc:docMk/>
          <pc:sldMk cId="1886867389" sldId="713"/>
        </pc:sldMkLst>
        <pc:spChg chg="mod">
          <ac:chgData name="Daniel L Weiss" userId="S::dlw2885@ads.northwestern.edu::9eb720c2-52d8-4896-8792-48826e9f92f5" providerId="AD" clId="Web-{9F04AE85-5DB0-664B-0E79-F2F19EC48FA1}" dt="2023-02-10T20:15:40.046" v="16" actId="20577"/>
          <ac:spMkLst>
            <pc:docMk/>
            <pc:sldMk cId="1886867389" sldId="713"/>
            <ac:spMk id="3" creationId="{1419A524-96F5-A0B2-CACE-F9567471AB2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niel L Weiss" userId="S::dlw2885@ads.northwestern.edu::9eb720c2-52d8-4896-8792-48826e9f92f5" providerId="AD" clId="Web-{9F04AE85-5DB0-664B-0E79-F2F19EC48FA1}" dt="2023-02-10T20:12:44.495" v="0"/>
              <pc2:cmMkLst xmlns:pc2="http://schemas.microsoft.com/office/powerpoint/2019/9/main/command">
                <pc:docMk/>
                <pc:sldMk cId="1886867389" sldId="713"/>
                <pc2:cmMk id="{215A7BE2-A4E4-4329-ABAD-A6F9D7715777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FF988041-7F47-3776-5E0C-2946FD92D7C0}"/>
    <pc:docChg chg="modSld">
      <pc:chgData name="Alana Rivera" userId="S::arg3669@ads.northwestern.edu::fc8b707a-b7e9-4f2a-8d71-2d76819b7881" providerId="AD" clId="Web-{FF988041-7F47-3776-5E0C-2946FD92D7C0}" dt="2024-02-29T13:31:57.361" v="12" actId="1076"/>
      <pc:docMkLst>
        <pc:docMk/>
      </pc:docMkLst>
      <pc:sldChg chg="modSp">
        <pc:chgData name="Alana Rivera" userId="S::arg3669@ads.northwestern.edu::fc8b707a-b7e9-4f2a-8d71-2d76819b7881" providerId="AD" clId="Web-{FF988041-7F47-3776-5E0C-2946FD92D7C0}" dt="2024-02-29T13:31:57.361" v="12" actId="1076"/>
        <pc:sldMkLst>
          <pc:docMk/>
          <pc:sldMk cId="2376362958" sldId="834"/>
        </pc:sldMkLst>
        <pc:spChg chg="mod">
          <ac:chgData name="Alana Rivera" userId="S::arg3669@ads.northwestern.edu::fc8b707a-b7e9-4f2a-8d71-2d76819b7881" providerId="AD" clId="Web-{FF988041-7F47-3776-5E0C-2946FD92D7C0}" dt="2024-02-29T13:31:57.361" v="12" actId="1076"/>
          <ac:spMkLst>
            <pc:docMk/>
            <pc:sldMk cId="2376362958" sldId="834"/>
            <ac:spMk id="43" creationId="{00000000-0000-0000-0000-000000000000}"/>
          </ac:spMkLst>
        </pc:spChg>
        <pc:spChg chg="mod">
          <ac:chgData name="Alana Rivera" userId="S::arg3669@ads.northwestern.edu::fc8b707a-b7e9-4f2a-8d71-2d76819b7881" providerId="AD" clId="Web-{FF988041-7F47-3776-5E0C-2946FD92D7C0}" dt="2024-02-29T13:31:46.189" v="2" actId="20577"/>
          <ac:spMkLst>
            <pc:docMk/>
            <pc:sldMk cId="2376362958" sldId="834"/>
            <ac:spMk id="46" creationId="{00000000-0000-0000-0000-000000000000}"/>
          </ac:spMkLst>
        </pc:spChg>
        <pc:spChg chg="mod">
          <ac:chgData name="Alana Rivera" userId="S::arg3669@ads.northwestern.edu::fc8b707a-b7e9-4f2a-8d71-2d76819b7881" providerId="AD" clId="Web-{FF988041-7F47-3776-5E0C-2946FD92D7C0}" dt="2024-02-29T13:31:55.501" v="11" actId="20577"/>
          <ac:spMkLst>
            <pc:docMk/>
            <pc:sldMk cId="2376362958" sldId="834"/>
            <ac:spMk id="50" creationId="{00000000-0000-0000-0000-000000000000}"/>
          </ac:spMkLst>
        </pc:spChg>
      </pc:sldChg>
    </pc:docChg>
  </pc:docChgLst>
  <pc:docChgLst>
    <pc:chgData name="Eileen Fleming Suse" userId="S::efs3844@ads.northwestern.edu::725c94ef-d051-42d7-9d33-8572765d592b" providerId="AD" clId="Web-{68C177FD-8856-628B-CAB0-ADFA0C79013F}"/>
    <pc:docChg chg="modSld">
      <pc:chgData name="Eileen Fleming Suse" userId="S::efs3844@ads.northwestern.edu::725c94ef-d051-42d7-9d33-8572765d592b" providerId="AD" clId="Web-{68C177FD-8856-628B-CAB0-ADFA0C79013F}" dt="2024-01-19T15:14:47.461" v="4"/>
      <pc:docMkLst>
        <pc:docMk/>
      </pc:docMkLst>
      <pc:sldChg chg="modSp">
        <pc:chgData name="Eileen Fleming Suse" userId="S::efs3844@ads.northwestern.edu::725c94ef-d051-42d7-9d33-8572765d592b" providerId="AD" clId="Web-{68C177FD-8856-628B-CAB0-ADFA0C79013F}" dt="2024-01-19T15:14:47.461" v="4"/>
        <pc:sldMkLst>
          <pc:docMk/>
          <pc:sldMk cId="1982435436" sldId="784"/>
        </pc:sldMkLst>
        <pc:graphicFrameChg chg="mod modGraphic">
          <ac:chgData name="Eileen Fleming Suse" userId="S::efs3844@ads.northwestern.edu::725c94ef-d051-42d7-9d33-8572765d592b" providerId="AD" clId="Web-{68C177FD-8856-628B-CAB0-ADFA0C79013F}" dt="2024-01-19T15:14:47.461" v="4"/>
          <ac:graphicFrameMkLst>
            <pc:docMk/>
            <pc:sldMk cId="1982435436" sldId="784"/>
            <ac:graphicFrameMk id="6" creationId="{BF79D693-9F7A-A3CB-D374-566F28C11E62}"/>
          </ac:graphicFrameMkLst>
        </pc:graphicFrameChg>
      </pc:sldChg>
      <pc:sldChg chg="modSp">
        <pc:chgData name="Eileen Fleming Suse" userId="S::efs3844@ads.northwestern.edu::725c94ef-d051-42d7-9d33-8572765d592b" providerId="AD" clId="Web-{68C177FD-8856-628B-CAB0-ADFA0C79013F}" dt="2024-01-19T14:59:08.038" v="2" actId="20577"/>
        <pc:sldMkLst>
          <pc:docMk/>
          <pc:sldMk cId="1112372070" sldId="824"/>
        </pc:sldMkLst>
        <pc:spChg chg="mod">
          <ac:chgData name="Eileen Fleming Suse" userId="S::efs3844@ads.northwestern.edu::725c94ef-d051-42d7-9d33-8572765d592b" providerId="AD" clId="Web-{68C177FD-8856-628B-CAB0-ADFA0C79013F}" dt="2024-01-19T14:59:08.038" v="2" actId="20577"/>
          <ac:spMkLst>
            <pc:docMk/>
            <pc:sldMk cId="1112372070" sldId="824"/>
            <ac:spMk id="2" creationId="{3FB4878F-0400-AE7C-3EEE-62994307E9E4}"/>
          </ac:spMkLst>
        </pc:spChg>
      </pc:sldChg>
    </pc:docChg>
  </pc:docChgLst>
  <pc:docChgLst>
    <pc:chgData name="Kiela Karina Moreno" userId="S::mpg7143@ads.northwestern.edu::1e897b35-0dd4-497a-9ab7-7a37e6c39d5b" providerId="AD" clId="Web-{B84B0EC9-4D2E-B014-C92C-2E617023C608}"/>
    <pc:docChg chg="addSld modSld">
      <pc:chgData name="Kiela Karina Moreno" userId="S::mpg7143@ads.northwestern.edu::1e897b35-0dd4-497a-9ab7-7a37e6c39d5b" providerId="AD" clId="Web-{B84B0EC9-4D2E-B014-C92C-2E617023C608}" dt="2024-02-13T21:07:51.412" v="308"/>
      <pc:docMkLst>
        <pc:docMk/>
      </pc:docMkLst>
      <pc:sldChg chg="delSp">
        <pc:chgData name="Kiela Karina Moreno" userId="S::mpg7143@ads.northwestern.edu::1e897b35-0dd4-497a-9ab7-7a37e6c39d5b" providerId="AD" clId="Web-{B84B0EC9-4D2E-B014-C92C-2E617023C608}" dt="2024-02-13T20:52:17.746" v="0"/>
        <pc:sldMkLst>
          <pc:docMk/>
          <pc:sldMk cId="1424189288" sldId="774"/>
        </pc:sldMkLst>
        <pc:spChg chg="del">
          <ac:chgData name="Kiela Karina Moreno" userId="S::mpg7143@ads.northwestern.edu::1e897b35-0dd4-497a-9ab7-7a37e6c39d5b" providerId="AD" clId="Web-{B84B0EC9-4D2E-B014-C92C-2E617023C608}" dt="2024-02-13T20:52:17.746" v="0"/>
          <ac:spMkLst>
            <pc:docMk/>
            <pc:sldMk cId="1424189288" sldId="774"/>
            <ac:spMk id="9" creationId="{694423A0-E7E7-CEE8-C80A-D6D3D14A2E48}"/>
          </ac:spMkLst>
        </pc:spChg>
      </pc:sldChg>
      <pc:sldChg chg="delSp">
        <pc:chgData name="Kiela Karina Moreno" userId="S::mpg7143@ads.northwestern.edu::1e897b35-0dd4-497a-9ab7-7a37e6c39d5b" providerId="AD" clId="Web-{B84B0EC9-4D2E-B014-C92C-2E617023C608}" dt="2024-02-13T20:52:35.981" v="1"/>
        <pc:sldMkLst>
          <pc:docMk/>
          <pc:sldMk cId="254191585" sldId="775"/>
        </pc:sldMkLst>
        <pc:spChg chg="del">
          <ac:chgData name="Kiela Karina Moreno" userId="S::mpg7143@ads.northwestern.edu::1e897b35-0dd4-497a-9ab7-7a37e6c39d5b" providerId="AD" clId="Web-{B84B0EC9-4D2E-B014-C92C-2E617023C608}" dt="2024-02-13T20:52:35.981" v="1"/>
          <ac:spMkLst>
            <pc:docMk/>
            <pc:sldMk cId="254191585" sldId="775"/>
            <ac:spMk id="8" creationId="{04407E59-9135-CA13-2F6F-1044072DCAAD}"/>
          </ac:spMkLst>
        </pc:spChg>
      </pc:sldChg>
      <pc:sldChg chg="modSp modCm">
        <pc:chgData name="Kiela Karina Moreno" userId="S::mpg7143@ads.northwestern.edu::1e897b35-0dd4-497a-9ab7-7a37e6c39d5b" providerId="AD" clId="Web-{B84B0EC9-4D2E-B014-C92C-2E617023C608}" dt="2024-02-13T21:07:51.412" v="308"/>
        <pc:sldMkLst>
          <pc:docMk/>
          <pc:sldMk cId="1982435436" sldId="784"/>
        </pc:sldMkLst>
        <pc:graphicFrameChg chg="mod modGraphic">
          <ac:chgData name="Kiela Karina Moreno" userId="S::mpg7143@ads.northwestern.edu::1e897b35-0dd4-497a-9ab7-7a37e6c39d5b" providerId="AD" clId="Web-{B84B0EC9-4D2E-B014-C92C-2E617023C608}" dt="2024-02-13T21:03:39.382" v="307" actId="1076"/>
          <ac:graphicFrameMkLst>
            <pc:docMk/>
            <pc:sldMk cId="1982435436" sldId="784"/>
            <ac:graphicFrameMk id="6" creationId="{BF79D693-9F7A-A3CB-D374-566F28C11E62}"/>
          </ac:graphicFrameMkLst>
        </pc:graphicFrameChg>
        <pc:graphicFrameChg chg="mod modGraphic">
          <ac:chgData name="Kiela Karina Moreno" userId="S::mpg7143@ads.northwestern.edu::1e897b35-0dd4-497a-9ab7-7a37e6c39d5b" providerId="AD" clId="Web-{B84B0EC9-4D2E-B014-C92C-2E617023C608}" dt="2024-02-13T21:03:32.851" v="306" actId="1076"/>
          <ac:graphicFrameMkLst>
            <pc:docMk/>
            <pc:sldMk cId="1982435436" sldId="784"/>
            <ac:graphicFrameMk id="10" creationId="{CD362683-C0A7-0C6F-FF3E-E5B0BFB06090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Kiela Karina Moreno" userId="S::mpg7143@ads.northwestern.edu::1e897b35-0dd4-497a-9ab7-7a37e6c39d5b" providerId="AD" clId="Web-{B84B0EC9-4D2E-B014-C92C-2E617023C608}" dt="2024-02-13T20:58:39.384" v="154"/>
              <pc2:cmMkLst xmlns:pc2="http://schemas.microsoft.com/office/powerpoint/2019/9/main/command">
                <pc:docMk/>
                <pc:sldMk cId="1982435436" sldId="784"/>
                <pc2:cmMk id="{B4C67E16-B8A7-40D8-8EE3-2C2C12B32B06}"/>
              </pc2:cmMkLst>
              <pc226:cmRplyChg chg="add">
                <pc226:chgData name="Kiela Karina Moreno" userId="S::mpg7143@ads.northwestern.edu::1e897b35-0dd4-497a-9ab7-7a37e6c39d5b" providerId="AD" clId="Web-{B84B0EC9-4D2E-B014-C92C-2E617023C608}" dt="2024-02-13T20:58:39.384" v="154"/>
                <pc2:cmRplyMkLst xmlns:pc2="http://schemas.microsoft.com/office/powerpoint/2019/9/main/command">
                  <pc:docMk/>
                  <pc:sldMk cId="1982435436" sldId="784"/>
                  <pc2:cmMk id="{B4C67E16-B8A7-40D8-8EE3-2C2C12B32B06}"/>
                  <pc2:cmRplyMk id="{0CA8A9A8-51CE-44B0-A21A-BC04907D87F5}"/>
                </pc2:cmRplyMkLst>
              </pc226:cmRplyChg>
            </pc226:cmChg>
            <pc226:cmChg xmlns:pc226="http://schemas.microsoft.com/office/powerpoint/2022/06/main/command" chg="mod">
              <pc226:chgData name="Kiela Karina Moreno" userId="S::mpg7143@ads.northwestern.edu::1e897b35-0dd4-497a-9ab7-7a37e6c39d5b" providerId="AD" clId="Web-{B84B0EC9-4D2E-B014-C92C-2E617023C608}" dt="2024-02-13T21:07:51.412" v="308"/>
              <pc2:cmMkLst xmlns:pc2="http://schemas.microsoft.com/office/powerpoint/2019/9/main/command">
                <pc:docMk/>
                <pc:sldMk cId="1982435436" sldId="784"/>
                <pc2:cmMk id="{39245BE5-181E-42E7-8A85-C78CE5D052A9}"/>
              </pc2:cmMkLst>
            </pc226:cmChg>
          </p:ext>
        </pc:extLst>
      </pc:sldChg>
      <pc:sldChg chg="modSp add">
        <pc:chgData name="Kiela Karina Moreno" userId="S::mpg7143@ads.northwestern.edu::1e897b35-0dd4-497a-9ab7-7a37e6c39d5b" providerId="AD" clId="Web-{B84B0EC9-4D2E-B014-C92C-2E617023C608}" dt="2024-02-13T20:55:39.151" v="9" actId="20577"/>
        <pc:sldMkLst>
          <pc:docMk/>
          <pc:sldMk cId="3352784023" sldId="830"/>
        </pc:sldMkLst>
        <pc:spChg chg="mod">
          <ac:chgData name="Kiela Karina Moreno" userId="S::mpg7143@ads.northwestern.edu::1e897b35-0dd4-497a-9ab7-7a37e6c39d5b" providerId="AD" clId="Web-{B84B0EC9-4D2E-B014-C92C-2E617023C608}" dt="2024-02-13T20:55:39.151" v="9" actId="20577"/>
          <ac:spMkLst>
            <pc:docMk/>
            <pc:sldMk cId="3352784023" sldId="830"/>
            <ac:spMk id="2" creationId="{4750E6DC-BCB6-7021-74E4-A553695C7B5E}"/>
          </ac:spMkLst>
        </pc:spChg>
        <pc:graphicFrameChg chg="mod">
          <ac:chgData name="Kiela Karina Moreno" userId="S::mpg7143@ads.northwestern.edu::1e897b35-0dd4-497a-9ab7-7a37e6c39d5b" providerId="AD" clId="Web-{B84B0EC9-4D2E-B014-C92C-2E617023C608}" dt="2024-02-13T20:55:39.011" v="7" actId="1076"/>
          <ac:graphicFrameMkLst>
            <pc:docMk/>
            <pc:sldMk cId="3352784023" sldId="830"/>
            <ac:graphicFrameMk id="7" creationId="{D6C0E3B9-AD38-3062-92BA-93FBC89260BC}"/>
          </ac:graphicFrameMkLst>
        </pc:graphicFrameChg>
      </pc:sldChg>
    </pc:docChg>
  </pc:docChgLst>
  <pc:docChgLst>
    <pc:chgData name="Alana Rivera" userId="S::arg3669@ads.northwestern.edu::fc8b707a-b7e9-4f2a-8d71-2d76819b7881" providerId="AD" clId="Web-{FD2B4088-424B-2180-56D0-54ADEAB02A3C}"/>
    <pc:docChg chg="delSld modSld">
      <pc:chgData name="Alana Rivera" userId="S::arg3669@ads.northwestern.edu::fc8b707a-b7e9-4f2a-8d71-2d76819b7881" providerId="AD" clId="Web-{FD2B4088-424B-2180-56D0-54ADEAB02A3C}" dt="2024-01-10T19:46:48.995" v="1" actId="1076"/>
      <pc:docMkLst>
        <pc:docMk/>
      </pc:docMkLst>
      <pc:sldChg chg="modSp">
        <pc:chgData name="Alana Rivera" userId="S::arg3669@ads.northwestern.edu::fc8b707a-b7e9-4f2a-8d71-2d76819b7881" providerId="AD" clId="Web-{FD2B4088-424B-2180-56D0-54ADEAB02A3C}" dt="2024-01-10T19:46:48.995" v="1" actId="1076"/>
        <pc:sldMkLst>
          <pc:docMk/>
          <pc:sldMk cId="3572565421" sldId="798"/>
        </pc:sldMkLst>
        <pc:picChg chg="mod">
          <ac:chgData name="Alana Rivera" userId="S::arg3669@ads.northwestern.edu::fc8b707a-b7e9-4f2a-8d71-2d76819b7881" providerId="AD" clId="Web-{FD2B4088-424B-2180-56D0-54ADEAB02A3C}" dt="2024-01-10T19:46:48.995" v="1" actId="1076"/>
          <ac:picMkLst>
            <pc:docMk/>
            <pc:sldMk cId="3572565421" sldId="798"/>
            <ac:picMk id="6" creationId="{B6128E00-8074-B03E-C8F6-B2F861BDB843}"/>
          </ac:picMkLst>
        </pc:picChg>
      </pc:sldChg>
      <pc:sldChg chg="del">
        <pc:chgData name="Alana Rivera" userId="S::arg3669@ads.northwestern.edu::fc8b707a-b7e9-4f2a-8d71-2d76819b7881" providerId="AD" clId="Web-{FD2B4088-424B-2180-56D0-54ADEAB02A3C}" dt="2024-01-10T19:46:38.994" v="0"/>
        <pc:sldMkLst>
          <pc:docMk/>
          <pc:sldMk cId="2372968021" sldId="799"/>
        </pc:sldMkLst>
      </pc:sldChg>
    </pc:docChg>
  </pc:docChgLst>
  <pc:docChgLst>
    <pc:chgData name="Kiela Karina Moreno" userId="S::mpg7143@ads.northwestern.edu::1e897b35-0dd4-497a-9ab7-7a37e6c39d5b" providerId="AD" clId="Web-{EC7F6739-1EBE-3561-97B3-A8DFF5ED2968}"/>
    <pc:docChg chg="modSld">
      <pc:chgData name="Kiela Karina Moreno" userId="S::mpg7143@ads.northwestern.edu::1e897b35-0dd4-497a-9ab7-7a37e6c39d5b" providerId="AD" clId="Web-{EC7F6739-1EBE-3561-97B3-A8DFF5ED2968}" dt="2024-02-28T16:46:19.634" v="5"/>
      <pc:docMkLst>
        <pc:docMk/>
      </pc:docMkLst>
      <pc:sldChg chg="modSp">
        <pc:chgData name="Kiela Karina Moreno" userId="S::mpg7143@ads.northwestern.edu::1e897b35-0dd4-497a-9ab7-7a37e6c39d5b" providerId="AD" clId="Web-{EC7F6739-1EBE-3561-97B3-A8DFF5ED2968}" dt="2024-02-28T16:46:19.634" v="5"/>
        <pc:sldMkLst>
          <pc:docMk/>
          <pc:sldMk cId="1805206964" sldId="811"/>
        </pc:sldMkLst>
        <pc:graphicFrameChg chg="mod modGraphic">
          <ac:chgData name="Kiela Karina Moreno" userId="S::mpg7143@ads.northwestern.edu::1e897b35-0dd4-497a-9ab7-7a37e6c39d5b" providerId="AD" clId="Web-{EC7F6739-1EBE-3561-97B3-A8DFF5ED2968}" dt="2024-02-28T16:46:19.634" v="5"/>
          <ac:graphicFrameMkLst>
            <pc:docMk/>
            <pc:sldMk cId="1805206964" sldId="811"/>
            <ac:graphicFrameMk id="6" creationId="{3C10FB90-C65D-4456-26E4-25AEC9F1CECF}"/>
          </ac:graphicFrameMkLst>
        </pc:graphicFrameChg>
      </pc:sldChg>
    </pc:docChg>
  </pc:docChgLst>
  <pc:docChgLst>
    <pc:chgData name="Aleena Lida Surenian" userId="S::als0813@ads.northwestern.edu::e2fd0e4e-6417-49b0-ab16-0ba26a1719f0" providerId="AD" clId="Web-{1034BF3D-C73B-6872-6478-3277589DF469}"/>
    <pc:docChg chg="addSld modSld">
      <pc:chgData name="Aleena Lida Surenian" userId="S::als0813@ads.northwestern.edu::e2fd0e4e-6417-49b0-ab16-0ba26a1719f0" providerId="AD" clId="Web-{1034BF3D-C73B-6872-6478-3277589DF469}" dt="2023-03-02T19:20:39.622" v="663" actId="14100"/>
      <pc:docMkLst>
        <pc:docMk/>
      </pc:docMkLst>
      <pc:sldChg chg="addSp modSp">
        <pc:chgData name="Aleena Lida Surenian" userId="S::als0813@ads.northwestern.edu::e2fd0e4e-6417-49b0-ab16-0ba26a1719f0" providerId="AD" clId="Web-{1034BF3D-C73B-6872-6478-3277589DF469}" dt="2023-03-02T18:59:33.413" v="203"/>
        <pc:sldMkLst>
          <pc:docMk/>
          <pc:sldMk cId="1545632957" sldId="729"/>
        </pc:sldMkLst>
        <pc:spChg chg="mod">
          <ac:chgData name="Aleena Lida Surenian" userId="S::als0813@ads.northwestern.edu::e2fd0e4e-6417-49b0-ab16-0ba26a1719f0" providerId="AD" clId="Web-{1034BF3D-C73B-6872-6478-3277589DF469}" dt="2023-03-02T18:52:44.854" v="91"/>
          <ac:spMkLst>
            <pc:docMk/>
            <pc:sldMk cId="1545632957" sldId="729"/>
            <ac:spMk id="2" creationId="{1A0F8578-93ED-D009-8562-90753379F670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8:49:25.879" v="66" actId="20577"/>
          <ac:spMkLst>
            <pc:docMk/>
            <pc:sldMk cId="1545632957" sldId="729"/>
            <ac:spMk id="3" creationId="{A7B6E2D0-1D97-60D1-5FEF-B69401319127}"/>
          </ac:spMkLst>
        </pc:spChg>
        <pc:spChg chg="ord">
          <ac:chgData name="Aleena Lida Surenian" userId="S::als0813@ads.northwestern.edu::e2fd0e4e-6417-49b0-ab16-0ba26a1719f0" providerId="AD" clId="Web-{1034BF3D-C73B-6872-6478-3277589DF469}" dt="2023-03-02T18:51:12.429" v="81"/>
          <ac:spMkLst>
            <pc:docMk/>
            <pc:sldMk cId="1545632957" sldId="729"/>
            <ac:spMk id="5" creationId="{73621E2F-75A3-84DA-03B3-0A3A82EF3E79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8:52:03.071" v="87"/>
          <ac:spMkLst>
            <pc:docMk/>
            <pc:sldMk cId="1545632957" sldId="729"/>
            <ac:spMk id="7" creationId="{DA5535EF-5272-9415-282B-374E45C3F26B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8:59:33.413" v="203"/>
          <ac:spMkLst>
            <pc:docMk/>
            <pc:sldMk cId="1545632957" sldId="729"/>
            <ac:spMk id="8" creationId="{413BCFCF-D3A6-7F94-28FC-08F5DE384EA4}"/>
          </ac:spMkLst>
        </pc:spChg>
        <pc:picChg chg="add mod ord">
          <ac:chgData name="Aleena Lida Surenian" userId="S::als0813@ads.northwestern.edu::e2fd0e4e-6417-49b0-ab16-0ba26a1719f0" providerId="AD" clId="Web-{1034BF3D-C73B-6872-6478-3277589DF469}" dt="2023-03-02T18:51:07.242" v="80" actId="1076"/>
          <ac:picMkLst>
            <pc:docMk/>
            <pc:sldMk cId="1545632957" sldId="729"/>
            <ac:picMk id="6" creationId="{0D149ED1-C59A-ABA3-C203-958342DA4F6D}"/>
          </ac:picMkLst>
        </pc:picChg>
      </pc:sldChg>
      <pc:sldChg chg="addSp delSp modSp add replId">
        <pc:chgData name="Aleena Lida Surenian" userId="S::als0813@ads.northwestern.edu::e2fd0e4e-6417-49b0-ab16-0ba26a1719f0" providerId="AD" clId="Web-{1034BF3D-C73B-6872-6478-3277589DF469}" dt="2023-03-02T18:59:29.631" v="202"/>
        <pc:sldMkLst>
          <pc:docMk/>
          <pc:sldMk cId="3865427998" sldId="732"/>
        </pc:sldMkLst>
        <pc:spChg chg="mod">
          <ac:chgData name="Aleena Lida Surenian" userId="S::als0813@ads.northwestern.edu::e2fd0e4e-6417-49b0-ab16-0ba26a1719f0" providerId="AD" clId="Web-{1034BF3D-C73B-6872-6478-3277589DF469}" dt="2023-03-02T18:57:08.315" v="153" actId="14100"/>
          <ac:spMkLst>
            <pc:docMk/>
            <pc:sldMk cId="3865427998" sldId="732"/>
            <ac:spMk id="2" creationId="{1A0F8578-93ED-D009-8562-90753379F670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8:58:21.348" v="189" actId="20577"/>
          <ac:spMkLst>
            <pc:docMk/>
            <pc:sldMk cId="3865427998" sldId="732"/>
            <ac:spMk id="3" creationId="{A7B6E2D0-1D97-60D1-5FEF-B69401319127}"/>
          </ac:spMkLst>
        </pc:spChg>
        <pc:spChg chg="mod ord">
          <ac:chgData name="Aleena Lida Surenian" userId="S::als0813@ads.northwestern.edu::e2fd0e4e-6417-49b0-ab16-0ba26a1719f0" providerId="AD" clId="Web-{1034BF3D-C73B-6872-6478-3277589DF469}" dt="2023-03-02T18:57:24.471" v="158" actId="14100"/>
          <ac:spMkLst>
            <pc:docMk/>
            <pc:sldMk cId="3865427998" sldId="732"/>
            <ac:spMk id="7" creationId="{DA5535EF-5272-9415-282B-374E45C3F26B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8:59:29.631" v="202"/>
          <ac:spMkLst>
            <pc:docMk/>
            <pc:sldMk cId="3865427998" sldId="732"/>
            <ac:spMk id="8" creationId="{413BCFCF-D3A6-7F94-28FC-08F5DE384EA4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8:58:34.848" v="191" actId="1076"/>
          <ac:spMkLst>
            <pc:docMk/>
            <pc:sldMk cId="3865427998" sldId="732"/>
            <ac:spMk id="11" creationId="{5BC141DC-6A58-D555-52F5-097861D686AB}"/>
          </ac:spMkLst>
        </pc:spChg>
        <pc:spChg chg="add del mod">
          <ac:chgData name="Aleena Lida Surenian" userId="S::als0813@ads.northwestern.edu::e2fd0e4e-6417-49b0-ab16-0ba26a1719f0" providerId="AD" clId="Web-{1034BF3D-C73B-6872-6478-3277589DF469}" dt="2023-03-02T18:58:53.396" v="194"/>
          <ac:spMkLst>
            <pc:docMk/>
            <pc:sldMk cId="3865427998" sldId="732"/>
            <ac:spMk id="12" creationId="{BD5A7AE4-39BF-67C9-B54F-9B7345A9A588}"/>
          </ac:spMkLst>
        </pc:spChg>
        <pc:spChg chg="add del">
          <ac:chgData name="Aleena Lida Surenian" userId="S::als0813@ads.northwestern.edu::e2fd0e4e-6417-49b0-ab16-0ba26a1719f0" providerId="AD" clId="Web-{1034BF3D-C73B-6872-6478-3277589DF469}" dt="2023-03-02T18:59:10.490" v="196"/>
          <ac:spMkLst>
            <pc:docMk/>
            <pc:sldMk cId="3865427998" sldId="732"/>
            <ac:spMk id="13" creationId="{26F49D27-8AD5-F4CA-A7EA-7C2A6BBBDFDD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8:59:26.225" v="201" actId="1076"/>
          <ac:spMkLst>
            <pc:docMk/>
            <pc:sldMk cId="3865427998" sldId="732"/>
            <ac:spMk id="14" creationId="{1E603AF5-355C-93B0-E0CF-A6922E1D0927}"/>
          </ac:spMkLst>
        </pc:spChg>
        <pc:picChg chg="del">
          <ac:chgData name="Aleena Lida Surenian" userId="S::als0813@ads.northwestern.edu::e2fd0e4e-6417-49b0-ab16-0ba26a1719f0" providerId="AD" clId="Web-{1034BF3D-C73B-6872-6478-3277589DF469}" dt="2023-03-02T18:53:32.871" v="145"/>
          <ac:picMkLst>
            <pc:docMk/>
            <pc:sldMk cId="3865427998" sldId="732"/>
            <ac:picMk id="6" creationId="{0D149ED1-C59A-ABA3-C203-958342DA4F6D}"/>
          </ac:picMkLst>
        </pc:picChg>
        <pc:picChg chg="add mod">
          <ac:chgData name="Aleena Lida Surenian" userId="S::als0813@ads.northwestern.edu::e2fd0e4e-6417-49b0-ab16-0ba26a1719f0" providerId="AD" clId="Web-{1034BF3D-C73B-6872-6478-3277589DF469}" dt="2023-03-02T18:57:18.815" v="156" actId="1076"/>
          <ac:picMkLst>
            <pc:docMk/>
            <pc:sldMk cId="3865427998" sldId="732"/>
            <ac:picMk id="9" creationId="{68FEF5BD-3603-DCEE-2DF2-12E453F925FD}"/>
          </ac:picMkLst>
        </pc:picChg>
        <pc:picChg chg="add mod">
          <ac:chgData name="Aleena Lida Surenian" userId="S::als0813@ads.northwestern.edu::e2fd0e4e-6417-49b0-ab16-0ba26a1719f0" providerId="AD" clId="Web-{1034BF3D-C73B-6872-6478-3277589DF469}" dt="2023-03-02T18:58:07.410" v="175" actId="1076"/>
          <ac:picMkLst>
            <pc:docMk/>
            <pc:sldMk cId="3865427998" sldId="732"/>
            <ac:picMk id="10" creationId="{2005DFE3-5D78-02D8-6CE0-6E19E6B2170D}"/>
          </ac:picMkLst>
        </pc:picChg>
      </pc:sldChg>
      <pc:sldChg chg="addSp delSp modSp add replId">
        <pc:chgData name="Aleena Lida Surenian" userId="S::als0813@ads.northwestern.edu::e2fd0e4e-6417-49b0-ab16-0ba26a1719f0" providerId="AD" clId="Web-{1034BF3D-C73B-6872-6478-3277589DF469}" dt="2023-03-02T19:11:18.183" v="382" actId="1076"/>
        <pc:sldMkLst>
          <pc:docMk/>
          <pc:sldMk cId="1062421072" sldId="733"/>
        </pc:sldMkLst>
        <pc:spChg chg="mod">
          <ac:chgData name="Aleena Lida Surenian" userId="S::als0813@ads.northwestern.edu::e2fd0e4e-6417-49b0-ab16-0ba26a1719f0" providerId="AD" clId="Web-{1034BF3D-C73B-6872-6478-3277589DF469}" dt="2023-03-02T19:11:18.183" v="382" actId="1076"/>
          <ac:spMkLst>
            <pc:docMk/>
            <pc:sldMk cId="1062421072" sldId="733"/>
            <ac:spMk id="2" creationId="{1A0F8578-93ED-D009-8562-90753379F670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9:10:40.667" v="379" actId="20577"/>
          <ac:spMkLst>
            <pc:docMk/>
            <pc:sldMk cId="1062421072" sldId="733"/>
            <ac:spMk id="3" creationId="{A7B6E2D0-1D97-60D1-5FEF-B69401319127}"/>
          </ac:spMkLst>
        </pc:spChg>
        <pc:spChg chg="del mod">
          <ac:chgData name="Aleena Lida Surenian" userId="S::als0813@ads.northwestern.edu::e2fd0e4e-6417-49b0-ab16-0ba26a1719f0" providerId="AD" clId="Web-{1034BF3D-C73B-6872-6478-3277589DF469}" dt="2023-03-02T19:08:51.507" v="335"/>
          <ac:spMkLst>
            <pc:docMk/>
            <pc:sldMk cId="1062421072" sldId="733"/>
            <ac:spMk id="7" creationId="{DA5535EF-5272-9415-282B-374E45C3F26B}"/>
          </ac:spMkLst>
        </pc:spChg>
        <pc:spChg chg="del mod">
          <ac:chgData name="Aleena Lida Surenian" userId="S::als0813@ads.northwestern.edu::e2fd0e4e-6417-49b0-ab16-0ba26a1719f0" providerId="AD" clId="Web-{1034BF3D-C73B-6872-6478-3277589DF469}" dt="2023-03-02T19:08:50.210" v="334"/>
          <ac:spMkLst>
            <pc:docMk/>
            <pc:sldMk cId="1062421072" sldId="733"/>
            <ac:spMk id="8" creationId="{413BCFCF-D3A6-7F94-28FC-08F5DE384EA4}"/>
          </ac:spMkLst>
        </pc:spChg>
        <pc:spChg chg="mod ord">
          <ac:chgData name="Aleena Lida Surenian" userId="S::als0813@ads.northwestern.edu::e2fd0e4e-6417-49b0-ab16-0ba26a1719f0" providerId="AD" clId="Web-{1034BF3D-C73B-6872-6478-3277589DF469}" dt="2023-03-02T19:08:16.912" v="327" actId="1076"/>
          <ac:spMkLst>
            <pc:docMk/>
            <pc:sldMk cId="1062421072" sldId="733"/>
            <ac:spMk id="11" creationId="{5BC141DC-6A58-D555-52F5-097861D686AB}"/>
          </ac:spMkLst>
        </pc:spChg>
        <pc:spChg chg="mod ord">
          <ac:chgData name="Aleena Lida Surenian" userId="S::als0813@ads.northwestern.edu::e2fd0e4e-6417-49b0-ab16-0ba26a1719f0" providerId="AD" clId="Web-{1034BF3D-C73B-6872-6478-3277589DF469}" dt="2023-03-02T19:08:44.304" v="333" actId="14100"/>
          <ac:spMkLst>
            <pc:docMk/>
            <pc:sldMk cId="1062421072" sldId="733"/>
            <ac:spMk id="14" creationId="{1E603AF5-355C-93B0-E0CF-A6922E1D0927}"/>
          </ac:spMkLst>
        </pc:spChg>
        <pc:picChg chg="add mod">
          <ac:chgData name="Aleena Lida Surenian" userId="S::als0813@ads.northwestern.edu::e2fd0e4e-6417-49b0-ab16-0ba26a1719f0" providerId="AD" clId="Web-{1034BF3D-C73B-6872-6478-3277589DF469}" dt="2023-03-02T19:06:21.581" v="238" actId="14100"/>
          <ac:picMkLst>
            <pc:docMk/>
            <pc:sldMk cId="1062421072" sldId="733"/>
            <ac:picMk id="6" creationId="{622CD9B3-D2EC-40D5-AC83-08B38FC8EA14}"/>
          </ac:picMkLst>
        </pc:picChg>
        <pc:picChg chg="del">
          <ac:chgData name="Aleena Lida Surenian" userId="S::als0813@ads.northwestern.edu::e2fd0e4e-6417-49b0-ab16-0ba26a1719f0" providerId="AD" clId="Web-{1034BF3D-C73B-6872-6478-3277589DF469}" dt="2023-03-02T19:04:50.859" v="206"/>
          <ac:picMkLst>
            <pc:docMk/>
            <pc:sldMk cId="1062421072" sldId="733"/>
            <ac:picMk id="9" creationId="{68FEF5BD-3603-DCEE-2DF2-12E453F925FD}"/>
          </ac:picMkLst>
        </pc:picChg>
        <pc:picChg chg="del">
          <ac:chgData name="Aleena Lida Surenian" userId="S::als0813@ads.northwestern.edu::e2fd0e4e-6417-49b0-ab16-0ba26a1719f0" providerId="AD" clId="Web-{1034BF3D-C73B-6872-6478-3277589DF469}" dt="2023-03-02T19:04:50.750" v="205"/>
          <ac:picMkLst>
            <pc:docMk/>
            <pc:sldMk cId="1062421072" sldId="733"/>
            <ac:picMk id="10" creationId="{2005DFE3-5D78-02D8-6CE0-6E19E6B2170D}"/>
          </ac:picMkLst>
        </pc:picChg>
      </pc:sldChg>
      <pc:sldChg chg="addSp delSp modSp add replId">
        <pc:chgData name="Aleena Lida Surenian" userId="S::als0813@ads.northwestern.edu::e2fd0e4e-6417-49b0-ab16-0ba26a1719f0" providerId="AD" clId="Web-{1034BF3D-C73B-6872-6478-3277589DF469}" dt="2023-03-02T19:20:39.622" v="663" actId="14100"/>
        <pc:sldMkLst>
          <pc:docMk/>
          <pc:sldMk cId="1910128735" sldId="734"/>
        </pc:sldMkLst>
        <pc:spChg chg="mod">
          <ac:chgData name="Aleena Lida Surenian" userId="S::als0813@ads.northwestern.edu::e2fd0e4e-6417-49b0-ab16-0ba26a1719f0" providerId="AD" clId="Web-{1034BF3D-C73B-6872-6478-3277589DF469}" dt="2023-03-02T19:11:13.589" v="381" actId="1076"/>
          <ac:spMkLst>
            <pc:docMk/>
            <pc:sldMk cId="1910128735" sldId="734"/>
            <ac:spMk id="2" creationId="{1A0F8578-93ED-D009-8562-90753379F670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9:13:22.765" v="463" actId="20577"/>
          <ac:spMkLst>
            <pc:docMk/>
            <pc:sldMk cId="1910128735" sldId="734"/>
            <ac:spMk id="3" creationId="{A7B6E2D0-1D97-60D1-5FEF-B69401319127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9:20:39.622" v="663" actId="14100"/>
          <ac:spMkLst>
            <pc:docMk/>
            <pc:sldMk cId="1910128735" sldId="734"/>
            <ac:spMk id="9" creationId="{78C37D0C-66E4-6AEC-CF8A-C1F34D84CAEA}"/>
          </ac:spMkLst>
        </pc:spChg>
        <pc:spChg chg="del">
          <ac:chgData name="Aleena Lida Surenian" userId="S::als0813@ads.northwestern.edu::e2fd0e4e-6417-49b0-ab16-0ba26a1719f0" providerId="AD" clId="Web-{1034BF3D-C73B-6872-6478-3277589DF469}" dt="2023-03-02T19:11:40.903" v="392"/>
          <ac:spMkLst>
            <pc:docMk/>
            <pc:sldMk cId="1910128735" sldId="734"/>
            <ac:spMk id="11" creationId="{5BC141DC-6A58-D555-52F5-097861D686AB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9:12:36.420" v="403" actId="1076"/>
          <ac:spMkLst>
            <pc:docMk/>
            <pc:sldMk cId="1910128735" sldId="734"/>
            <ac:spMk id="14" creationId="{1E603AF5-355C-93B0-E0CF-A6922E1D0927}"/>
          </ac:spMkLst>
        </pc:spChg>
        <pc:picChg chg="del">
          <ac:chgData name="Aleena Lida Surenian" userId="S::als0813@ads.northwestern.edu::e2fd0e4e-6417-49b0-ab16-0ba26a1719f0" providerId="AD" clId="Web-{1034BF3D-C73B-6872-6478-3277589DF469}" dt="2023-03-02T19:12:07.279" v="393"/>
          <ac:picMkLst>
            <pc:docMk/>
            <pc:sldMk cId="1910128735" sldId="734"/>
            <ac:picMk id="6" creationId="{622CD9B3-D2EC-40D5-AC83-08B38FC8EA14}"/>
          </ac:picMkLst>
        </pc:picChg>
        <pc:picChg chg="add mod ord">
          <ac:chgData name="Aleena Lida Surenian" userId="S::als0813@ads.northwestern.edu::e2fd0e4e-6417-49b0-ab16-0ba26a1719f0" providerId="AD" clId="Web-{1034BF3D-C73B-6872-6478-3277589DF469}" dt="2023-03-02T19:12:31.279" v="402"/>
          <ac:picMkLst>
            <pc:docMk/>
            <pc:sldMk cId="1910128735" sldId="734"/>
            <ac:picMk id="7" creationId="{854AA8C4-1629-6FB6-B4E6-0609EB816806}"/>
          </ac:picMkLst>
        </pc:picChg>
      </pc:sldChg>
      <pc:sldChg chg="addSp delSp modSp add replId">
        <pc:chgData name="Aleena Lida Surenian" userId="S::als0813@ads.northwestern.edu::e2fd0e4e-6417-49b0-ab16-0ba26a1719f0" providerId="AD" clId="Web-{1034BF3D-C73B-6872-6478-3277589DF469}" dt="2023-03-02T19:20:26.121" v="660" actId="14100"/>
        <pc:sldMkLst>
          <pc:docMk/>
          <pc:sldMk cId="4107287562" sldId="735"/>
        </pc:sldMkLst>
        <pc:spChg chg="mod">
          <ac:chgData name="Aleena Lida Surenian" userId="S::als0813@ads.northwestern.edu::e2fd0e4e-6417-49b0-ab16-0ba26a1719f0" providerId="AD" clId="Web-{1034BF3D-C73B-6872-6478-3277589DF469}" dt="2023-03-02T19:20:00.199" v="657" actId="20577"/>
          <ac:spMkLst>
            <pc:docMk/>
            <pc:sldMk cId="4107287562" sldId="735"/>
            <ac:spMk id="3" creationId="{A7B6E2D0-1D97-60D1-5FEF-B69401319127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9:20:26.121" v="660" actId="14100"/>
          <ac:spMkLst>
            <pc:docMk/>
            <pc:sldMk cId="4107287562" sldId="735"/>
            <ac:spMk id="9" creationId="{36642840-FFE0-03D6-2AEE-94B922BE170C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9:14:38.752" v="504" actId="1076"/>
          <ac:spMkLst>
            <pc:docMk/>
            <pc:sldMk cId="4107287562" sldId="735"/>
            <ac:spMk id="14" creationId="{1E603AF5-355C-93B0-E0CF-A6922E1D0927}"/>
          </ac:spMkLst>
        </pc:spChg>
        <pc:picChg chg="add mod ord">
          <ac:chgData name="Aleena Lida Surenian" userId="S::als0813@ads.northwestern.edu::e2fd0e4e-6417-49b0-ab16-0ba26a1719f0" providerId="AD" clId="Web-{1034BF3D-C73B-6872-6478-3277589DF469}" dt="2023-03-02T19:14:33.767" v="503" actId="1076"/>
          <ac:picMkLst>
            <pc:docMk/>
            <pc:sldMk cId="4107287562" sldId="735"/>
            <ac:picMk id="6" creationId="{605C95BA-03E4-7A7F-4897-2DB684D1D14B}"/>
          </ac:picMkLst>
        </pc:picChg>
        <pc:picChg chg="del">
          <ac:chgData name="Aleena Lida Surenian" userId="S::als0813@ads.northwestern.edu::e2fd0e4e-6417-49b0-ab16-0ba26a1719f0" providerId="AD" clId="Web-{1034BF3D-C73B-6872-6478-3277589DF469}" dt="2023-03-02T19:14:07.313" v="496"/>
          <ac:picMkLst>
            <pc:docMk/>
            <pc:sldMk cId="4107287562" sldId="735"/>
            <ac:picMk id="7" creationId="{854AA8C4-1629-6FB6-B4E6-0609EB816806}"/>
          </ac:picMkLst>
        </pc:picChg>
      </pc:sldChg>
      <pc:sldChg chg="addSp delSp modSp add replId">
        <pc:chgData name="Aleena Lida Surenian" userId="S::als0813@ads.northwestern.edu::e2fd0e4e-6417-49b0-ab16-0ba26a1719f0" providerId="AD" clId="Web-{1034BF3D-C73B-6872-6478-3277589DF469}" dt="2023-03-02T19:19:29.245" v="633" actId="1076"/>
        <pc:sldMkLst>
          <pc:docMk/>
          <pc:sldMk cId="2311745026" sldId="736"/>
        </pc:sldMkLst>
        <pc:spChg chg="mod">
          <ac:chgData name="Aleena Lida Surenian" userId="S::als0813@ads.northwestern.edu::e2fd0e4e-6417-49b0-ab16-0ba26a1719f0" providerId="AD" clId="Web-{1034BF3D-C73B-6872-6478-3277589DF469}" dt="2023-03-02T19:17:57.961" v="609" actId="20577"/>
          <ac:spMkLst>
            <pc:docMk/>
            <pc:sldMk cId="2311745026" sldId="736"/>
            <ac:spMk id="3" creationId="{A7B6E2D0-1D97-60D1-5FEF-B69401319127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9:19:16.635" v="631" actId="1076"/>
          <ac:spMkLst>
            <pc:docMk/>
            <pc:sldMk cId="2311745026" sldId="736"/>
            <ac:spMk id="8" creationId="{A5935B68-4925-F71F-A5EF-A7288EDE1F3B}"/>
          </ac:spMkLst>
        </pc:spChg>
        <pc:spChg chg="add mod">
          <ac:chgData name="Aleena Lida Surenian" userId="S::als0813@ads.northwestern.edu::e2fd0e4e-6417-49b0-ab16-0ba26a1719f0" providerId="AD" clId="Web-{1034BF3D-C73B-6872-6478-3277589DF469}" dt="2023-03-02T19:19:29.245" v="633" actId="1076"/>
          <ac:spMkLst>
            <pc:docMk/>
            <pc:sldMk cId="2311745026" sldId="736"/>
            <ac:spMk id="9" creationId="{D5CFDD6A-D769-E328-A487-F0F4138478DD}"/>
          </ac:spMkLst>
        </pc:spChg>
        <pc:spChg chg="mod">
          <ac:chgData name="Aleena Lida Surenian" userId="S::als0813@ads.northwestern.edu::e2fd0e4e-6417-49b0-ab16-0ba26a1719f0" providerId="AD" clId="Web-{1034BF3D-C73B-6872-6478-3277589DF469}" dt="2023-03-02T19:18:37.493" v="622" actId="1076"/>
          <ac:spMkLst>
            <pc:docMk/>
            <pc:sldMk cId="2311745026" sldId="736"/>
            <ac:spMk id="14" creationId="{1E603AF5-355C-93B0-E0CF-A6922E1D0927}"/>
          </ac:spMkLst>
        </pc:spChg>
        <pc:picChg chg="add mod ord">
          <ac:chgData name="Aleena Lida Surenian" userId="S::als0813@ads.northwestern.edu::e2fd0e4e-6417-49b0-ab16-0ba26a1719f0" providerId="AD" clId="Web-{1034BF3D-C73B-6872-6478-3277589DF469}" dt="2023-03-02T19:19:12.104" v="630" actId="1076"/>
          <ac:picMkLst>
            <pc:docMk/>
            <pc:sldMk cId="2311745026" sldId="736"/>
            <ac:picMk id="6" creationId="{DD86D3C8-5AD7-E405-9672-9801BA5DE652}"/>
          </ac:picMkLst>
        </pc:picChg>
        <pc:picChg chg="del">
          <ac:chgData name="Aleena Lida Surenian" userId="S::als0813@ads.northwestern.edu::e2fd0e4e-6417-49b0-ab16-0ba26a1719f0" providerId="AD" clId="Web-{1034BF3D-C73B-6872-6478-3277589DF469}" dt="2023-03-02T19:18:03.617" v="611"/>
          <ac:picMkLst>
            <pc:docMk/>
            <pc:sldMk cId="2311745026" sldId="736"/>
            <ac:picMk id="7" creationId="{854AA8C4-1629-6FB6-B4E6-0609EB816806}"/>
          </ac:picMkLst>
        </pc:picChg>
      </pc:sldChg>
    </pc:docChg>
  </pc:docChgLst>
  <pc:docChgLst>
    <pc:chgData name="Patricia Ann Lee King" userId="S::pal094@ads.northwestern.edu::dbab7ec2-5444-4d21-afe7-a39974533ddc" providerId="AD" clId="Web-{619428D5-A48D-AE01-45AB-F1080739B8FA}"/>
    <pc:docChg chg="">
      <pc:chgData name="Patricia Ann Lee King" userId="S::pal094@ads.northwestern.edu::dbab7ec2-5444-4d21-afe7-a39974533ddc" providerId="AD" clId="Web-{619428D5-A48D-AE01-45AB-F1080739B8FA}" dt="2024-01-12T21:05:38.793" v="0"/>
      <pc:docMkLst>
        <pc:docMk/>
      </pc:docMkLst>
      <pc:sldChg chg="addCm">
        <pc:chgData name="Patricia Ann Lee King" userId="S::pal094@ads.northwestern.edu::dbab7ec2-5444-4d21-afe7-a39974533ddc" providerId="AD" clId="Web-{619428D5-A48D-AE01-45AB-F1080739B8FA}" dt="2024-01-12T21:05:38.793" v="0"/>
        <pc:sldMkLst>
          <pc:docMk/>
          <pc:sldMk cId="196190430" sldId="64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Patricia Ann Lee King" userId="S::pal094@ads.northwestern.edu::dbab7ec2-5444-4d21-afe7-a39974533ddc" providerId="AD" clId="Web-{619428D5-A48D-AE01-45AB-F1080739B8FA}" dt="2024-01-12T21:05:38.793" v="0"/>
              <pc2:cmMkLst xmlns:pc2="http://schemas.microsoft.com/office/powerpoint/2019/9/main/command">
                <pc:docMk/>
                <pc:sldMk cId="196190430" sldId="645"/>
                <pc2:cmMk id="{938B9BB9-4A58-44B8-B282-AFE2FE114C36}"/>
              </pc2:cmMkLst>
            </pc226:cmChg>
          </p:ext>
        </pc:extLst>
      </pc:sldChg>
    </pc:docChg>
  </pc:docChgLst>
  <pc:docChgLst>
    <pc:chgData name="Alana Rivera" userId="S::arg3669@ads.northwestern.edu::fc8b707a-b7e9-4f2a-8d71-2d76819b7881" providerId="AD" clId="Web-{F5BAF1C7-B3DC-ACB7-D1EC-B381A1C7CD46}"/>
    <pc:docChg chg="delSld modSld">
      <pc:chgData name="Alana Rivera" userId="S::arg3669@ads.northwestern.edu::fc8b707a-b7e9-4f2a-8d71-2d76819b7881" providerId="AD" clId="Web-{F5BAF1C7-B3DC-ACB7-D1EC-B381A1C7CD46}" dt="2023-03-06T20:12:23.401" v="13"/>
      <pc:docMkLst>
        <pc:docMk/>
      </pc:docMkLst>
      <pc:sldChg chg="addCm">
        <pc:chgData name="Alana Rivera" userId="S::arg3669@ads.northwestern.edu::fc8b707a-b7e9-4f2a-8d71-2d76819b7881" providerId="AD" clId="Web-{F5BAF1C7-B3DC-ACB7-D1EC-B381A1C7CD46}" dt="2023-03-06T20:11:20.432" v="7"/>
        <pc:sldMkLst>
          <pc:docMk/>
          <pc:sldMk cId="3589410507" sldId="60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F5BAF1C7-B3DC-ACB7-D1EC-B381A1C7CD46}" dt="2023-03-06T20:11:20.432" v="7"/>
              <pc2:cmMkLst xmlns:pc2="http://schemas.microsoft.com/office/powerpoint/2019/9/main/command">
                <pc:docMk/>
                <pc:sldMk cId="3589410507" sldId="600"/>
                <pc2:cmMk id="{C54F3626-57D6-4ED5-A32E-E8741DE85694}"/>
              </pc2:cmMkLst>
            </pc226:cmChg>
          </p:ext>
        </pc:extLst>
      </pc:sldChg>
      <pc:sldChg chg="addCm">
        <pc:chgData name="Alana Rivera" userId="S::arg3669@ads.northwestern.edu::fc8b707a-b7e9-4f2a-8d71-2d76819b7881" providerId="AD" clId="Web-{F5BAF1C7-B3DC-ACB7-D1EC-B381A1C7CD46}" dt="2023-03-06T20:11:40.416" v="8"/>
        <pc:sldMkLst>
          <pc:docMk/>
          <pc:sldMk cId="2371520634" sldId="6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F5BAF1C7-B3DC-ACB7-D1EC-B381A1C7CD46}" dt="2023-03-06T20:11:40.416" v="8"/>
              <pc2:cmMkLst xmlns:pc2="http://schemas.microsoft.com/office/powerpoint/2019/9/main/command">
                <pc:docMk/>
                <pc:sldMk cId="2371520634" sldId="631"/>
                <pc2:cmMk id="{DCB0E427-24C4-48A0-96AE-20541F8B8ECC}"/>
              </pc2:cmMkLst>
            </pc226:cmChg>
          </p:ext>
        </pc:extLst>
      </pc:sldChg>
      <pc:sldChg chg="addCm">
        <pc:chgData name="Alana Rivera" userId="S::arg3669@ads.northwestern.edu::fc8b707a-b7e9-4f2a-8d71-2d76819b7881" providerId="AD" clId="Web-{F5BAF1C7-B3DC-ACB7-D1EC-B381A1C7CD46}" dt="2023-03-06T20:12:14.885" v="11"/>
        <pc:sldMkLst>
          <pc:docMk/>
          <pc:sldMk cId="888239619" sldId="6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F5BAF1C7-B3DC-ACB7-D1EC-B381A1C7CD46}" dt="2023-03-06T20:12:14.885" v="11"/>
              <pc2:cmMkLst xmlns:pc2="http://schemas.microsoft.com/office/powerpoint/2019/9/main/command">
                <pc:docMk/>
                <pc:sldMk cId="888239619" sldId="632"/>
                <pc2:cmMk id="{ABF980BD-88A4-414C-9017-057DC36E7A8C}"/>
              </pc2:cmMkLst>
            </pc226:cmChg>
          </p:ext>
        </pc:extLst>
      </pc:sldChg>
      <pc:sldChg chg="modSp">
        <pc:chgData name="Alana Rivera" userId="S::arg3669@ads.northwestern.edu::fc8b707a-b7e9-4f2a-8d71-2d76819b7881" providerId="AD" clId="Web-{F5BAF1C7-B3DC-ACB7-D1EC-B381A1C7CD46}" dt="2023-03-06T20:09:06.603" v="2" actId="20577"/>
        <pc:sldMkLst>
          <pc:docMk/>
          <pc:sldMk cId="196190430" sldId="645"/>
        </pc:sldMkLst>
        <pc:spChg chg="mod">
          <ac:chgData name="Alana Rivera" userId="S::arg3669@ads.northwestern.edu::fc8b707a-b7e9-4f2a-8d71-2d76819b7881" providerId="AD" clId="Web-{F5BAF1C7-B3DC-ACB7-D1EC-B381A1C7CD46}" dt="2023-03-06T20:09:06.603" v="2" actId="20577"/>
          <ac:spMkLst>
            <pc:docMk/>
            <pc:sldMk cId="196190430" sldId="645"/>
            <ac:spMk id="7" creationId="{E2FF8D45-BFEB-7CA2-6CDA-61B2AF4C1505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0:50.213" v="6"/>
        <pc:sldMkLst>
          <pc:docMk/>
          <pc:sldMk cId="1618859033" sldId="693"/>
        </pc:sldMkLst>
        <pc:spChg chg="mod">
          <ac:chgData name="Alana Rivera" userId="S::arg3669@ads.northwestern.edu::fc8b707a-b7e9-4f2a-8d71-2d76819b7881" providerId="AD" clId="Web-{F5BAF1C7-B3DC-ACB7-D1EC-B381A1C7CD46}" dt="2023-03-06T20:10:50.213" v="6"/>
          <ac:spMkLst>
            <pc:docMk/>
            <pc:sldMk cId="1618859033" sldId="693"/>
            <ac:spMk id="2" creationId="{7719FD7A-7B92-EC42-6554-FA310B6714B1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1:48.588" v="10"/>
        <pc:sldMkLst>
          <pc:docMk/>
          <pc:sldMk cId="3682438970" sldId="698"/>
        </pc:sldMkLst>
        <pc:spChg chg="mod">
          <ac:chgData name="Alana Rivera" userId="S::arg3669@ads.northwestern.edu::fc8b707a-b7e9-4f2a-8d71-2d76819b7881" providerId="AD" clId="Web-{F5BAF1C7-B3DC-ACB7-D1EC-B381A1C7CD46}" dt="2023-03-06T20:11:48.588" v="10"/>
          <ac:spMkLst>
            <pc:docMk/>
            <pc:sldMk cId="3682438970" sldId="698"/>
            <ac:spMk id="2" creationId="{7719FD7A-7B92-EC42-6554-FA310B6714B1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1:46.057" v="9"/>
        <pc:sldMkLst>
          <pc:docMk/>
          <pc:sldMk cId="149255822" sldId="700"/>
        </pc:sldMkLst>
        <pc:spChg chg="mod">
          <ac:chgData name="Alana Rivera" userId="S::arg3669@ads.northwestern.edu::fc8b707a-b7e9-4f2a-8d71-2d76819b7881" providerId="AD" clId="Web-{F5BAF1C7-B3DC-ACB7-D1EC-B381A1C7CD46}" dt="2023-03-06T20:11:46.057" v="9"/>
          <ac:spMkLst>
            <pc:docMk/>
            <pc:sldMk cId="149255822" sldId="700"/>
            <ac:spMk id="2" creationId="{7719FD7A-7B92-EC42-6554-FA310B6714B1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2:23.401" v="13"/>
        <pc:sldMkLst>
          <pc:docMk/>
          <pc:sldMk cId="1127716331" sldId="712"/>
        </pc:sldMkLst>
        <pc:spChg chg="mod">
          <ac:chgData name="Alana Rivera" userId="S::arg3669@ads.northwestern.edu::fc8b707a-b7e9-4f2a-8d71-2d76819b7881" providerId="AD" clId="Web-{F5BAF1C7-B3DC-ACB7-D1EC-B381A1C7CD46}" dt="2023-03-06T20:12:23.401" v="13"/>
          <ac:spMkLst>
            <pc:docMk/>
            <pc:sldMk cId="1127716331" sldId="712"/>
            <ac:spMk id="2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2:20.479" v="12"/>
        <pc:sldMkLst>
          <pc:docMk/>
          <pc:sldMk cId="1886867389" sldId="713"/>
        </pc:sldMkLst>
        <pc:spChg chg="mod">
          <ac:chgData name="Alana Rivera" userId="S::arg3669@ads.northwestern.edu::fc8b707a-b7e9-4f2a-8d71-2d76819b7881" providerId="AD" clId="Web-{F5BAF1C7-B3DC-ACB7-D1EC-B381A1C7CD46}" dt="2023-03-06T20:12:20.479" v="12"/>
          <ac:spMkLst>
            <pc:docMk/>
            <pc:sldMk cId="1886867389" sldId="713"/>
            <ac:spMk id="2" creationId="{7719FD7A-7B92-EC42-6554-FA310B6714B1}"/>
          </ac:spMkLst>
        </pc:spChg>
      </pc:sldChg>
      <pc:sldChg chg="modSp">
        <pc:chgData name="Alana Rivera" userId="S::arg3669@ads.northwestern.edu::fc8b707a-b7e9-4f2a-8d71-2d76819b7881" providerId="AD" clId="Web-{F5BAF1C7-B3DC-ACB7-D1EC-B381A1C7CD46}" dt="2023-03-06T20:10:42.322" v="5"/>
        <pc:sldMkLst>
          <pc:docMk/>
          <pc:sldMk cId="2905881923" sldId="716"/>
        </pc:sldMkLst>
        <pc:spChg chg="mod">
          <ac:chgData name="Alana Rivera" userId="S::arg3669@ads.northwestern.edu::fc8b707a-b7e9-4f2a-8d71-2d76819b7881" providerId="AD" clId="Web-{F5BAF1C7-B3DC-ACB7-D1EC-B381A1C7CD46}" dt="2023-03-06T20:10:42.322" v="5"/>
          <ac:spMkLst>
            <pc:docMk/>
            <pc:sldMk cId="2905881923" sldId="716"/>
            <ac:spMk id="2" creationId="{16817803-E785-34FC-07CE-0897747A5350}"/>
          </ac:spMkLst>
        </pc:spChg>
      </pc:sldChg>
      <pc:sldChg chg="del">
        <pc:chgData name="Alana Rivera" userId="S::arg3669@ads.northwestern.edu::fc8b707a-b7e9-4f2a-8d71-2d76819b7881" providerId="AD" clId="Web-{F5BAF1C7-B3DC-ACB7-D1EC-B381A1C7CD46}" dt="2023-03-06T20:09:20.103" v="3"/>
        <pc:sldMkLst>
          <pc:docMk/>
          <pc:sldMk cId="1918637504" sldId="727"/>
        </pc:sldMkLst>
      </pc:sldChg>
      <pc:sldChg chg="del">
        <pc:chgData name="Alana Rivera" userId="S::arg3669@ads.northwestern.edu::fc8b707a-b7e9-4f2a-8d71-2d76819b7881" providerId="AD" clId="Web-{F5BAF1C7-B3DC-ACB7-D1EC-B381A1C7CD46}" dt="2023-03-06T20:09:20.962" v="4"/>
        <pc:sldMkLst>
          <pc:docMk/>
          <pc:sldMk cId="1759612363" sldId="737"/>
        </pc:sldMkLst>
      </pc:sldChg>
    </pc:docChg>
  </pc:docChgLst>
  <pc:docChgLst>
    <pc:chgData name="Alana Rivera" userId="S::arg3669@ads.northwestern.edu::fc8b707a-b7e9-4f2a-8d71-2d76819b7881" providerId="AD" clId="Web-{CB42254A-5F6C-F273-CE2A-5E3F43F5B4B0}"/>
    <pc:docChg chg="modSld">
      <pc:chgData name="Alana Rivera" userId="S::arg3669@ads.northwestern.edu::fc8b707a-b7e9-4f2a-8d71-2d76819b7881" providerId="AD" clId="Web-{CB42254A-5F6C-F273-CE2A-5E3F43F5B4B0}" dt="2023-02-08T20:10:58.571" v="2" actId="1076"/>
      <pc:docMkLst>
        <pc:docMk/>
      </pc:docMkLst>
      <pc:sldChg chg="modSp">
        <pc:chgData name="Alana Rivera" userId="S::arg3669@ads.northwestern.edu::fc8b707a-b7e9-4f2a-8d71-2d76819b7881" providerId="AD" clId="Web-{CB42254A-5F6C-F273-CE2A-5E3F43F5B4B0}" dt="2023-02-08T20:10:58.571" v="2" actId="1076"/>
        <pc:sldMkLst>
          <pc:docMk/>
          <pc:sldMk cId="777408379" sldId="671"/>
        </pc:sldMkLst>
        <pc:spChg chg="mod">
          <ac:chgData name="Alana Rivera" userId="S::arg3669@ads.northwestern.edu::fc8b707a-b7e9-4f2a-8d71-2d76819b7881" providerId="AD" clId="Web-{CB42254A-5F6C-F273-CE2A-5E3F43F5B4B0}" dt="2023-02-08T20:10:58.571" v="2" actId="1076"/>
          <ac:spMkLst>
            <pc:docMk/>
            <pc:sldMk cId="777408379" sldId="671"/>
            <ac:spMk id="3" creationId="{00000000-0000-0000-0000-000000000000}"/>
          </ac:spMkLst>
        </pc:spChg>
      </pc:sldChg>
      <pc:sldChg chg="modSp">
        <pc:chgData name="Alana Rivera" userId="S::arg3669@ads.northwestern.edu::fc8b707a-b7e9-4f2a-8d71-2d76819b7881" providerId="AD" clId="Web-{CB42254A-5F6C-F273-CE2A-5E3F43F5B4B0}" dt="2023-02-08T20:06:36.394" v="1" actId="1076"/>
        <pc:sldMkLst>
          <pc:docMk/>
          <pc:sldMk cId="248905733" sldId="685"/>
        </pc:sldMkLst>
        <pc:spChg chg="mod">
          <ac:chgData name="Alana Rivera" userId="S::arg3669@ads.northwestern.edu::fc8b707a-b7e9-4f2a-8d71-2d76819b7881" providerId="AD" clId="Web-{CB42254A-5F6C-F273-CE2A-5E3F43F5B4B0}" dt="2023-02-08T20:06:32.487" v="0" actId="1076"/>
          <ac:spMkLst>
            <pc:docMk/>
            <pc:sldMk cId="248905733" sldId="685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CB42254A-5F6C-F273-CE2A-5E3F43F5B4B0}" dt="2023-02-08T20:06:36.394" v="1" actId="1076"/>
          <ac:spMkLst>
            <pc:docMk/>
            <pc:sldMk cId="248905733" sldId="685"/>
            <ac:spMk id="3" creationId="{00000000-0000-0000-0000-000000000000}"/>
          </ac:spMkLst>
        </pc:spChg>
      </pc:sldChg>
    </pc:docChg>
  </pc:docChgLst>
  <pc:docChgLst>
    <pc:chgData name="Alana Rivera" userId="S::arg3669@ads.northwestern.edu::fc8b707a-b7e9-4f2a-8d71-2d76819b7881" providerId="AD" clId="Web-{67649608-EE4D-C43A-E301-DBB134EB9A2F}"/>
    <pc:docChg chg="addSld delSld modSld addMainMaster modMainMaster">
      <pc:chgData name="Alana Rivera" userId="S::arg3669@ads.northwestern.edu::fc8b707a-b7e9-4f2a-8d71-2d76819b7881" providerId="AD" clId="Web-{67649608-EE4D-C43A-E301-DBB134EB9A2F}" dt="2024-01-09T21:12:27.898" v="88"/>
      <pc:docMkLst>
        <pc:docMk/>
      </pc:docMkLst>
      <pc:sldChg chg="modSp addCm">
        <pc:chgData name="Alana Rivera" userId="S::arg3669@ads.northwestern.edu::fc8b707a-b7e9-4f2a-8d71-2d76819b7881" providerId="AD" clId="Web-{67649608-EE4D-C43A-E301-DBB134EB9A2F}" dt="2024-01-09T21:11:24.146" v="83"/>
        <pc:sldMkLst>
          <pc:docMk/>
          <pc:sldMk cId="3589410507" sldId="600"/>
        </pc:sldMkLst>
        <pc:spChg chg="mod">
          <ac:chgData name="Alana Rivera" userId="S::arg3669@ads.northwestern.edu::fc8b707a-b7e9-4f2a-8d71-2d76819b7881" providerId="AD" clId="Web-{67649608-EE4D-C43A-E301-DBB134EB9A2F}" dt="2024-01-09T19:52:35.844" v="54" actId="20577"/>
          <ac:spMkLst>
            <pc:docMk/>
            <pc:sldMk cId="3589410507" sldId="600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7649608-EE4D-C43A-E301-DBB134EB9A2F}" dt="2024-01-09T21:11:24.146" v="83"/>
              <pc2:cmMkLst xmlns:pc2="http://schemas.microsoft.com/office/powerpoint/2019/9/main/command">
                <pc:docMk/>
                <pc:sldMk cId="3589410507" sldId="600"/>
                <pc2:cmMk id="{B40447ED-ACBE-431D-A9B3-6C4104A0324E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67649608-EE4D-C43A-E301-DBB134EB9A2F}" dt="2024-01-09T19:56:43.130" v="76"/>
        <pc:sldMkLst>
          <pc:docMk/>
          <pc:sldMk cId="1191054267" sldId="630"/>
        </pc:sldMkLst>
      </pc:sldChg>
      <pc:sldChg chg="modSp addCm delCm">
        <pc:chgData name="Alana Rivera" userId="S::arg3669@ads.northwestern.edu::fc8b707a-b7e9-4f2a-8d71-2d76819b7881" providerId="AD" clId="Web-{67649608-EE4D-C43A-E301-DBB134EB9A2F}" dt="2024-01-09T21:11:53.631" v="86"/>
        <pc:sldMkLst>
          <pc:docMk/>
          <pc:sldMk cId="2371520634" sldId="631"/>
        </pc:sldMkLst>
        <pc:spChg chg="mod">
          <ac:chgData name="Alana Rivera" userId="S::arg3669@ads.northwestern.edu::fc8b707a-b7e9-4f2a-8d71-2d76819b7881" providerId="AD" clId="Web-{67649608-EE4D-C43A-E301-DBB134EB9A2F}" dt="2024-01-09T19:52:20.718" v="39" actId="20577"/>
          <ac:spMkLst>
            <pc:docMk/>
            <pc:sldMk cId="2371520634" sldId="631"/>
            <ac:spMk id="2" creationId="{00000000-0000-0000-0000-00000000000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Alana Rivera" userId="S::arg3669@ads.northwestern.edu::fc8b707a-b7e9-4f2a-8d71-2d76819b7881" providerId="AD" clId="Web-{67649608-EE4D-C43A-E301-DBB134EB9A2F}" dt="2024-01-09T21:11:53.631" v="86"/>
              <pc2:cmMkLst xmlns:pc2="http://schemas.microsoft.com/office/powerpoint/2019/9/main/command">
                <pc:docMk/>
                <pc:sldMk cId="2371520634" sldId="631"/>
                <pc2:cmMk id="{AEF45521-EA10-45D0-A7E0-B61B57DF64FA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67649608-EE4D-C43A-E301-DBB134EB9A2F}" dt="2024-01-09T21:11:32.490" v="85"/>
              <pc2:cmMkLst xmlns:pc2="http://schemas.microsoft.com/office/powerpoint/2019/9/main/command">
                <pc:docMk/>
                <pc:sldMk cId="2371520634" sldId="631"/>
                <pc2:cmMk id="{DCB0E427-24C4-48A0-96AE-20541F8B8ECC}"/>
              </pc2:cmMkLst>
            </pc226:cmChg>
            <pc226:cmChg xmlns:pc226="http://schemas.microsoft.com/office/powerpoint/2022/06/main/command" chg="del">
              <pc226:chgData name="Alana Rivera" userId="S::arg3669@ads.northwestern.edu::fc8b707a-b7e9-4f2a-8d71-2d76819b7881" providerId="AD" clId="Web-{67649608-EE4D-C43A-E301-DBB134EB9A2F}" dt="2024-01-09T21:11:31.881" v="84"/>
              <pc2:cmMkLst xmlns:pc2="http://schemas.microsoft.com/office/powerpoint/2019/9/main/command">
                <pc:docMk/>
                <pc:sldMk cId="2371520634" sldId="631"/>
                <pc2:cmMk id="{53BF2EEF-F2EB-4709-B060-56F1BED2ED20}"/>
              </pc2:cmMkLst>
            </pc226:cmChg>
          </p:ext>
        </pc:extLst>
      </pc:sldChg>
      <pc:sldChg chg="del">
        <pc:chgData name="Alana Rivera" userId="S::arg3669@ads.northwestern.edu::fc8b707a-b7e9-4f2a-8d71-2d76819b7881" providerId="AD" clId="Web-{67649608-EE4D-C43A-E301-DBB134EB9A2F}" dt="2024-01-09T19:51:46.749" v="31"/>
        <pc:sldMkLst>
          <pc:docMk/>
          <pc:sldMk cId="1933816182" sldId="653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25.795" v="22"/>
        <pc:sldMkLst>
          <pc:docMk/>
          <pc:sldMk cId="1334474965" sldId="656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24.967" v="21"/>
        <pc:sldMkLst>
          <pc:docMk/>
          <pc:sldMk cId="2827188898" sldId="657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38.624" v="27"/>
        <pc:sldMkLst>
          <pc:docMk/>
          <pc:sldMk cId="3406231659" sldId="670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46.764" v="32"/>
        <pc:sldMkLst>
          <pc:docMk/>
          <pc:sldMk cId="777408379" sldId="671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33.202" v="25"/>
        <pc:sldMkLst>
          <pc:docMk/>
          <pc:sldMk cId="1618859033" sldId="693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31.358" v="24"/>
        <pc:sldMkLst>
          <pc:docMk/>
          <pc:sldMk cId="2905881923" sldId="716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46.718" v="30"/>
        <pc:sldMkLst>
          <pc:docMk/>
          <pc:sldMk cId="893258943" sldId="717"/>
        </pc:sldMkLst>
      </pc:sldChg>
      <pc:sldChg chg="del">
        <pc:chgData name="Alana Rivera" userId="S::arg3669@ads.northwestern.edu::fc8b707a-b7e9-4f2a-8d71-2d76819b7881" providerId="AD" clId="Web-{67649608-EE4D-C43A-E301-DBB134EB9A2F}" dt="2024-01-09T19:57:29.334" v="80"/>
        <pc:sldMkLst>
          <pc:docMk/>
          <pc:sldMk cId="289077670" sldId="720"/>
        </pc:sldMkLst>
      </pc:sldChg>
      <pc:sldChg chg="del">
        <pc:chgData name="Alana Rivera" userId="S::arg3669@ads.northwestern.edu::fc8b707a-b7e9-4f2a-8d71-2d76819b7881" providerId="AD" clId="Web-{67649608-EE4D-C43A-E301-DBB134EB9A2F}" dt="2024-01-09T19:57:29.131" v="79"/>
        <pc:sldMkLst>
          <pc:docMk/>
          <pc:sldMk cId="236147203" sldId="721"/>
        </pc:sldMkLst>
      </pc:sldChg>
      <pc:sldChg chg="del">
        <pc:chgData name="Alana Rivera" userId="S::arg3669@ads.northwestern.edu::fc8b707a-b7e9-4f2a-8d71-2d76819b7881" providerId="AD" clId="Web-{67649608-EE4D-C43A-E301-DBB134EB9A2F}" dt="2024-01-09T19:57:21.803" v="77"/>
        <pc:sldMkLst>
          <pc:docMk/>
          <pc:sldMk cId="2343888852" sldId="722"/>
        </pc:sldMkLst>
      </pc:sldChg>
      <pc:sldChg chg="del">
        <pc:chgData name="Alana Rivera" userId="S::arg3669@ads.northwestern.edu::fc8b707a-b7e9-4f2a-8d71-2d76819b7881" providerId="AD" clId="Web-{67649608-EE4D-C43A-E301-DBB134EB9A2F}" dt="2024-01-09T19:57:58.538" v="81"/>
        <pc:sldMkLst>
          <pc:docMk/>
          <pc:sldMk cId="3072489171" sldId="724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43.514" v="28"/>
        <pc:sldMkLst>
          <pc:docMk/>
          <pc:sldMk cId="2216606819" sldId="738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38.296" v="26"/>
        <pc:sldMkLst>
          <pc:docMk/>
          <pc:sldMk cId="491189780" sldId="739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46.702" v="29"/>
        <pc:sldMkLst>
          <pc:docMk/>
          <pc:sldMk cId="777329733" sldId="740"/>
        </pc:sldMkLst>
      </pc:sldChg>
      <pc:sldChg chg="del">
        <pc:chgData name="Alana Rivera" userId="S::arg3669@ads.northwestern.edu::fc8b707a-b7e9-4f2a-8d71-2d76819b7881" providerId="AD" clId="Web-{67649608-EE4D-C43A-E301-DBB134EB9A2F}" dt="2024-01-09T19:51:28.702" v="23"/>
        <pc:sldMkLst>
          <pc:docMk/>
          <pc:sldMk cId="590066452" sldId="742"/>
        </pc:sldMkLst>
      </pc:sldChg>
      <pc:sldChg chg="del">
        <pc:chgData name="Alana Rivera" userId="S::arg3669@ads.northwestern.edu::fc8b707a-b7e9-4f2a-8d71-2d76819b7881" providerId="AD" clId="Web-{67649608-EE4D-C43A-E301-DBB134EB9A2F}" dt="2024-01-09T19:29:13.466" v="3"/>
        <pc:sldMkLst>
          <pc:docMk/>
          <pc:sldMk cId="1998878245" sldId="744"/>
        </pc:sldMkLst>
      </pc:sldChg>
      <pc:sldChg chg="del">
        <pc:chgData name="Alana Rivera" userId="S::arg3669@ads.northwestern.edu::fc8b707a-b7e9-4f2a-8d71-2d76819b7881" providerId="AD" clId="Web-{67649608-EE4D-C43A-E301-DBB134EB9A2F}" dt="2024-01-09T19:57:22.662" v="78"/>
        <pc:sldMkLst>
          <pc:docMk/>
          <pc:sldMk cId="2595841245" sldId="746"/>
        </pc:sldMkLst>
      </pc:sldChg>
      <pc:sldChg chg="add del">
        <pc:chgData name="Alana Rivera" userId="S::arg3669@ads.northwestern.edu::fc8b707a-b7e9-4f2a-8d71-2d76819b7881" providerId="AD" clId="Web-{67649608-EE4D-C43A-E301-DBB134EB9A2F}" dt="2024-01-09T19:29:02.169" v="2"/>
        <pc:sldMkLst>
          <pc:docMk/>
          <pc:sldMk cId="695627405" sldId="752"/>
        </pc:sldMkLst>
      </pc:sldChg>
      <pc:sldChg chg="modSp add">
        <pc:chgData name="Alana Rivera" userId="S::arg3669@ads.northwestern.edu::fc8b707a-b7e9-4f2a-8d71-2d76819b7881" providerId="AD" clId="Web-{67649608-EE4D-C43A-E301-DBB134EB9A2F}" dt="2024-01-09T19:29:48.248" v="6" actId="20577"/>
        <pc:sldMkLst>
          <pc:docMk/>
          <pc:sldMk cId="1310655723" sldId="753"/>
        </pc:sldMkLst>
        <pc:spChg chg="mod">
          <ac:chgData name="Alana Rivera" userId="S::arg3669@ads.northwestern.edu::fc8b707a-b7e9-4f2a-8d71-2d76819b7881" providerId="AD" clId="Web-{67649608-EE4D-C43A-E301-DBB134EB9A2F}" dt="2024-01-09T19:29:42.326" v="5" actId="20577"/>
          <ac:spMkLst>
            <pc:docMk/>
            <pc:sldMk cId="1310655723" sldId="753"/>
            <ac:spMk id="10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29:48.248" v="6" actId="20577"/>
          <ac:spMkLst>
            <pc:docMk/>
            <pc:sldMk cId="1310655723" sldId="753"/>
            <ac:spMk id="12" creationId="{00000000-0000-0000-0000-000000000000}"/>
          </ac:spMkLst>
        </pc:spChg>
      </pc:sldChg>
      <pc:sldChg chg="add">
        <pc:chgData name="Alana Rivera" userId="S::arg3669@ads.northwestern.edu::fc8b707a-b7e9-4f2a-8d71-2d76819b7881" providerId="AD" clId="Web-{67649608-EE4D-C43A-E301-DBB134EB9A2F}" dt="2024-01-09T19:31:02.109" v="7"/>
        <pc:sldMkLst>
          <pc:docMk/>
          <pc:sldMk cId="2958697780" sldId="754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123" v="8"/>
        <pc:sldMkLst>
          <pc:docMk/>
          <pc:sldMk cId="2422427631" sldId="755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185" v="9"/>
        <pc:sldMkLst>
          <pc:docMk/>
          <pc:sldMk cId="3276848309" sldId="756"/>
        </pc:sldMkLst>
      </pc:sldChg>
      <pc:sldChg chg="add del replId">
        <pc:chgData name="Alana Rivera" userId="S::arg3669@ads.northwestern.edu::fc8b707a-b7e9-4f2a-8d71-2d76819b7881" providerId="AD" clId="Web-{67649608-EE4D-C43A-E301-DBB134EB9A2F}" dt="2024-01-09T19:58:25.726" v="82"/>
        <pc:sldMkLst>
          <pc:docMk/>
          <pc:sldMk cId="2118256914" sldId="757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404" v="11"/>
        <pc:sldMkLst>
          <pc:docMk/>
          <pc:sldMk cId="403052938" sldId="758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623" v="12"/>
        <pc:sldMkLst>
          <pc:docMk/>
          <pc:sldMk cId="3652848549" sldId="759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763" v="13"/>
        <pc:sldMkLst>
          <pc:docMk/>
          <pc:sldMk cId="1536524285" sldId="760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5.935" v="14"/>
        <pc:sldMkLst>
          <pc:docMk/>
          <pc:sldMk cId="4007625538" sldId="761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6.029" v="15"/>
        <pc:sldMkLst>
          <pc:docMk/>
          <pc:sldMk cId="2788730445" sldId="762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6.154" v="16"/>
        <pc:sldMkLst>
          <pc:docMk/>
          <pc:sldMk cId="2781709529" sldId="763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6.342" v="17"/>
        <pc:sldMkLst>
          <pc:docMk/>
          <pc:sldMk cId="3296571419" sldId="764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6.467" v="18"/>
        <pc:sldMkLst>
          <pc:docMk/>
          <pc:sldMk cId="4175269892" sldId="765"/>
        </pc:sldMkLst>
      </pc:sldChg>
      <pc:sldChg chg="add replId">
        <pc:chgData name="Alana Rivera" userId="S::arg3669@ads.northwestern.edu::fc8b707a-b7e9-4f2a-8d71-2d76819b7881" providerId="AD" clId="Web-{67649608-EE4D-C43A-E301-DBB134EB9A2F}" dt="2024-01-09T19:50:56.607" v="19"/>
        <pc:sldMkLst>
          <pc:docMk/>
          <pc:sldMk cId="585035610" sldId="766"/>
        </pc:sldMkLst>
      </pc:sldChg>
      <pc:sldChg chg="add replId addCm delCm">
        <pc:chgData name="Alana Rivera" userId="S::arg3669@ads.northwestern.edu::fc8b707a-b7e9-4f2a-8d71-2d76819b7881" providerId="AD" clId="Web-{67649608-EE4D-C43A-E301-DBB134EB9A2F}" dt="2024-01-09T21:12:27.898" v="88"/>
        <pc:sldMkLst>
          <pc:docMk/>
          <pc:sldMk cId="1642747970" sldId="76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Alana Rivera" userId="S::arg3669@ads.northwestern.edu::fc8b707a-b7e9-4f2a-8d71-2d76819b7881" providerId="AD" clId="Web-{67649608-EE4D-C43A-E301-DBB134EB9A2F}" dt="2024-01-09T21:12:00.725" v="87"/>
              <pc2:cmMkLst xmlns:pc2="http://schemas.microsoft.com/office/powerpoint/2019/9/main/command">
                <pc:docMk/>
                <pc:sldMk cId="1642747970" sldId="767"/>
                <pc2:cmMk id="{4F17E03E-A1D4-49D5-B281-98A1F2A53F0F}"/>
              </pc2:cmMkLst>
            </pc226:cmChg>
            <pc226:cmChg xmlns:pc226="http://schemas.microsoft.com/office/powerpoint/2022/06/main/command" chg="add">
              <pc226:chgData name="Alana Rivera" userId="S::arg3669@ads.northwestern.edu::fc8b707a-b7e9-4f2a-8d71-2d76819b7881" providerId="AD" clId="Web-{67649608-EE4D-C43A-E301-DBB134EB9A2F}" dt="2024-01-09T21:12:27.898" v="88"/>
              <pc2:cmMkLst xmlns:pc2="http://schemas.microsoft.com/office/powerpoint/2019/9/main/command">
                <pc:docMk/>
                <pc:sldMk cId="1642747970" sldId="767"/>
                <pc2:cmMk id="{A4AE509D-E9E8-4784-AAAD-7877463E09E9}"/>
              </pc2:cmMkLst>
            </pc226:cmChg>
          </p:ext>
        </pc:extLst>
      </pc:sldChg>
      <pc:sldChg chg="add">
        <pc:chgData name="Alana Rivera" userId="S::arg3669@ads.northwestern.edu::fc8b707a-b7e9-4f2a-8d71-2d76819b7881" providerId="AD" clId="Web-{67649608-EE4D-C43A-E301-DBB134EB9A2F}" dt="2024-01-09T19:54:46.987" v="55"/>
        <pc:sldMkLst>
          <pc:docMk/>
          <pc:sldMk cId="1643539557" sldId="768"/>
        </pc:sldMkLst>
      </pc:sldChg>
      <pc:sldChg chg="add">
        <pc:chgData name="Alana Rivera" userId="S::arg3669@ads.northwestern.edu::fc8b707a-b7e9-4f2a-8d71-2d76819b7881" providerId="AD" clId="Web-{67649608-EE4D-C43A-E301-DBB134EB9A2F}" dt="2024-01-09T19:54:47.924" v="56"/>
        <pc:sldMkLst>
          <pc:docMk/>
          <pc:sldMk cId="4179369718" sldId="769"/>
        </pc:sldMkLst>
      </pc:sldChg>
      <pc:sldChg chg="delSp modSp add">
        <pc:chgData name="Alana Rivera" userId="S::arg3669@ads.northwestern.edu::fc8b707a-b7e9-4f2a-8d71-2d76819b7881" providerId="AD" clId="Web-{67649608-EE4D-C43A-E301-DBB134EB9A2F}" dt="2024-01-09T19:56:35.036" v="75" actId="1076"/>
        <pc:sldMkLst>
          <pc:docMk/>
          <pc:sldMk cId="1789754515" sldId="770"/>
        </pc:sldMkLst>
        <pc:spChg chg="del mod">
          <ac:chgData name="Alana Rivera" userId="S::arg3669@ads.northwestern.edu::fc8b707a-b7e9-4f2a-8d71-2d76819b7881" providerId="AD" clId="Web-{67649608-EE4D-C43A-E301-DBB134EB9A2F}" dt="2024-01-09T19:55:05.737" v="59"/>
          <ac:spMkLst>
            <pc:docMk/>
            <pc:sldMk cId="1789754515" sldId="770"/>
            <ac:spMk id="2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5:13.691" v="60" actId="1076"/>
          <ac:spMkLst>
            <pc:docMk/>
            <pc:sldMk cId="1789754515" sldId="770"/>
            <ac:spMk id="3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6:09.692" v="69" actId="20577"/>
          <ac:spMkLst>
            <pc:docMk/>
            <pc:sldMk cId="1789754515" sldId="770"/>
            <ac:spMk id="4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6:26.723" v="73" actId="1076"/>
          <ac:spMkLst>
            <pc:docMk/>
            <pc:sldMk cId="1789754515" sldId="770"/>
            <ac:spMk id="14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5:56.285" v="65" actId="1076"/>
          <ac:spMkLst>
            <pc:docMk/>
            <pc:sldMk cId="1789754515" sldId="770"/>
            <ac:spMk id="17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5:54.129" v="64" actId="1076"/>
          <ac:spMkLst>
            <pc:docMk/>
            <pc:sldMk cId="1789754515" sldId="770"/>
            <ac:spMk id="18" creationId="{00000000-0000-0000-0000-000000000000}"/>
          </ac:spMkLst>
        </pc:spChg>
        <pc:spChg chg="mod">
          <ac:chgData name="Alana Rivera" userId="S::arg3669@ads.northwestern.edu::fc8b707a-b7e9-4f2a-8d71-2d76819b7881" providerId="AD" clId="Web-{67649608-EE4D-C43A-E301-DBB134EB9A2F}" dt="2024-01-09T19:55:35.519" v="62" actId="1076"/>
          <ac:spMkLst>
            <pc:docMk/>
            <pc:sldMk cId="1789754515" sldId="770"/>
            <ac:spMk id="20" creationId="{00000000-0000-0000-0000-000000000000}"/>
          </ac:spMkLst>
        </pc:spChg>
        <pc:grpChg chg="mod">
          <ac:chgData name="Alana Rivera" userId="S::arg3669@ads.northwestern.edu::fc8b707a-b7e9-4f2a-8d71-2d76819b7881" providerId="AD" clId="Web-{67649608-EE4D-C43A-E301-DBB134EB9A2F}" dt="2024-01-09T19:56:03.551" v="67" actId="1076"/>
          <ac:grpSpMkLst>
            <pc:docMk/>
            <pc:sldMk cId="1789754515" sldId="770"/>
            <ac:grpSpMk id="5" creationId="{00000000-0000-0000-0000-000000000000}"/>
          </ac:grpSpMkLst>
        </pc:grpChg>
        <pc:grpChg chg="mod">
          <ac:chgData name="Alana Rivera" userId="S::arg3669@ads.northwestern.edu::fc8b707a-b7e9-4f2a-8d71-2d76819b7881" providerId="AD" clId="Web-{67649608-EE4D-C43A-E301-DBB134EB9A2F}" dt="2024-01-09T19:56:35.036" v="75" actId="1076"/>
          <ac:grpSpMkLst>
            <pc:docMk/>
            <pc:sldMk cId="1789754515" sldId="770"/>
            <ac:grpSpMk id="8" creationId="{00000000-0000-0000-0000-000000000000}"/>
          </ac:grpSpMkLst>
        </pc:grpChg>
        <pc:grpChg chg="mod">
          <ac:chgData name="Alana Rivera" userId="S::arg3669@ads.northwestern.edu::fc8b707a-b7e9-4f2a-8d71-2d76819b7881" providerId="AD" clId="Web-{67649608-EE4D-C43A-E301-DBB134EB9A2F}" dt="2024-01-09T19:55:46.582" v="63" actId="1076"/>
          <ac:grpSpMkLst>
            <pc:docMk/>
            <pc:sldMk cId="1789754515" sldId="770"/>
            <ac:grpSpMk id="11" creationId="{00000000-0000-0000-0000-000000000000}"/>
          </ac:grpSpMkLst>
        </pc:grpChg>
      </pc:sldChg>
      <pc:sldMasterChg chg="addSldLayout modSldLayout">
        <pc:chgData name="Alana Rivera" userId="S::arg3669@ads.northwestern.edu::fc8b707a-b7e9-4f2a-8d71-2d76819b7881" providerId="AD" clId="Web-{67649608-EE4D-C43A-E301-DBB134EB9A2F}" dt="2024-01-09T19:54:46.987" v="55"/>
        <pc:sldMasterMkLst>
          <pc:docMk/>
          <pc:sldMasterMk cId="989504779" sldId="2147483734"/>
        </pc:sldMasterMkLst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65841725" sldId="21474838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10596175" sldId="21474838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16315189" sldId="21474838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51008025" sldId="21474838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393792943" sldId="21474838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75092572" sldId="21474838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88716721" sldId="21474838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145037749" sldId="21474838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86002367" sldId="21474838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39855488" sldId="214748385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121826003" sldId="21474838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875499530" sldId="214748385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01317895" sldId="21474838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668574274" sldId="214748387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35471929" sldId="21474838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39989584" sldId="21474838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617638659" sldId="214748392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07640099" sldId="21474839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554029526" sldId="21474839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04868132" sldId="214748393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70792940" sldId="21474839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9783795" sldId="21474839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80660955" sldId="214748394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64467406" sldId="214748394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5677796" sldId="214748394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021248361" sldId="21474839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51683148" sldId="21474839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76612349" sldId="21474839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361684694" sldId="21474839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422325930" sldId="21474839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572981547" sldId="214748395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42479938" sldId="21474839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66296709" sldId="214748395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570922304" sldId="214748396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155432313" sldId="214748396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879056666" sldId="214748396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01967696" sldId="214748396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386446465" sldId="214748396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910798543" sldId="21474839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48675539" sldId="214748396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23011711" sldId="214748396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36372206" sldId="21474839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92031328" sldId="21474839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10270537" sldId="21474839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14610509" sldId="214748397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50515904" sldId="214748397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53644344" sldId="214748397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122990995" sldId="214748397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8653374" sldId="214748397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24834593" sldId="214748397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43003970" sldId="21474839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17355230" sldId="21474839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51400287" sldId="21474839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698946972" sldId="214748398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51562560" sldId="21474839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126479413" sldId="21474839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89622913" sldId="21474839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57336188" sldId="21474839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8520332" sldId="21474839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28489293" sldId="214748398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5040569" sldId="214748398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21105823" sldId="21474839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15772397" sldId="214748399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51901327" sldId="214748399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11352467" sldId="214748399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22305507" sldId="214748399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45177511" sldId="214748399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26909929" sldId="214748399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38498237" sldId="21474839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36365882" sldId="214748399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08656322" sldId="214748399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30473943" sldId="214748399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35550117" sldId="21474840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05824695" sldId="21474840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342248109" sldId="21474840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428249061" sldId="21474840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515655145" sldId="21474840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496501" sldId="214748433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10130633" sldId="214748433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98059872" sldId="21474843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9320368" sldId="21474843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76272431" sldId="21474844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69300124" sldId="21474844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80140117" sldId="21474844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496501" sldId="21474844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10130633" sldId="21474844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91076637" sldId="21474845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14599787" sldId="21474846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91682188" sldId="21474846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8148766" sldId="21474846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30479694" sldId="21474846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98059872" sldId="214748460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79200564" sldId="21474846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48463225" sldId="21474846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88034496" sldId="21474846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496501" sldId="214748481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10130633" sldId="214748481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98059872" sldId="214748481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30801759" sldId="214748482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59781530" sldId="214748482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40902241" sldId="21474848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38803846" sldId="21474848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46898753" sldId="214748483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0529727" sldId="214748483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2630080" sldId="214748484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95676063" sldId="214748484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0529727" sldId="21474848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83420" sldId="21474848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588949313" sldId="21474848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88436358" sldId="214748499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625634235" sldId="21474850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27289008" sldId="21474850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022153863" sldId="21474850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635956606" sldId="21474850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619806002" sldId="21474850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565887101" sldId="21474850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57904224" sldId="214748507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91076637" sldId="214748507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40902241" sldId="214748507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81420108" sldId="214748507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79200564" sldId="214748507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38803846" sldId="21474850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46898753" sldId="21474850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10091495" sldId="21474850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14599787" sldId="214748508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91682188" sldId="21474850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8148766" sldId="21474850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87509848" sldId="21474851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28347992" sldId="214748521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9018680" sldId="214748521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87509848" sldId="214748521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98157548" sldId="214748523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0529727" sldId="21474853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496501" sldId="214748536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10130633" sldId="21474853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98059872" sldId="21474853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9320368" sldId="21474853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69300124" sldId="21474853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30801759" sldId="214748539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09868767" sldId="214748539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980529727" sldId="214748539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1337409" sldId="214748539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75216660" sldId="214748539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59781530" sldId="21474853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9320368" sldId="21474854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496501" sldId="21474854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10130633" sldId="21474854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98059872" sldId="21474854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40902241" sldId="21474854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79200564" sldId="21474854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82254879" sldId="214748542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32483557" sldId="214748544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30801759" sldId="21474854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59781530" sldId="21474854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95676063" sldId="21474854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0117215" sldId="21474855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91076637" sldId="214748584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40902241" sldId="21474858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81420108" sldId="21474858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79200564" sldId="21474858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38803846" sldId="21474858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46898753" sldId="21474858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10091495" sldId="21474858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14599787" sldId="21474858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91682188" sldId="21474858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8148766" sldId="21474858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09868767" sldId="21474858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1337409" sldId="21474858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75216660" sldId="21474858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76272431" sldId="21474858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80140117" sldId="214748587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29644005" sldId="214748587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22401269" sldId="21474858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46532180" sldId="21474859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36500789" sldId="21474859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22401269" sldId="21474859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0529727" sldId="21474859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1337409" sldId="21474860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88949313" sldId="21474862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48463225" sldId="21474862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88034496" sldId="21474862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76272431" sldId="21474862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113001559" sldId="214748636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0117215" sldId="214748636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88436358" sldId="214748636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25634235" sldId="214748636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27289008" sldId="21474863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22153863" sldId="214748636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35956606" sldId="214748636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19806002" sldId="21474863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65887101" sldId="21474863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287509848" sldId="21474869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9320368" sldId="214748692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09868767" sldId="21474869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75216660" sldId="21474869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979200564" sldId="214748698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01596344" sldId="21474869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91410609" sldId="21474870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25634235" sldId="21474870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22153863" sldId="21474870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88436358" sldId="21474870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27289008" sldId="214748700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22153863" sldId="214748701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35956606" sldId="214748701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19806002" sldId="214748701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65887101" sldId="214748701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91578072" sldId="214748702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179854312" sldId="214748702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132318659" sldId="214748703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8904194" sldId="214748703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83035621" sldId="21474870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534488667" sldId="214748703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984238912" sldId="214748703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12020187" sldId="21474870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181955522" sldId="21474870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32453738" sldId="214748703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4874233" sldId="214748703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71771967" sldId="214748703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14228870" sldId="214748704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48015493" sldId="214748704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91810783" sldId="214748704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68296633" sldId="214748704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63854968" sldId="214748704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78744679" sldId="214748704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86376476" sldId="214748704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43775063" sldId="214748704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34956318" sldId="21474870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88786427" sldId="21474870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18415549" sldId="21474870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521326" sldId="21474870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171903" sldId="21474870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74324019" sldId="21474870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8538390" sldId="21474870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51446120" sldId="214748705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632493380" sldId="214748706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45280055" sldId="214748706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48434812" sldId="214748706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805592603" sldId="214748706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92427770" sldId="214748706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94052774" sldId="21474870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47862978" sldId="214748706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76877181" sldId="214748706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50889900" sldId="21474870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56107529" sldId="21474870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04698859" sldId="21474870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61201835" sldId="214748707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75538182" sldId="214748707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8845375" sldId="214748707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32901630" sldId="214748707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11840102" sldId="214748707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89779657" sldId="214748707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87739039" sldId="21474870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34936126" sldId="21474870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73437552" sldId="21474870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58328559" sldId="214748708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29386569" sldId="21474870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65731875" sldId="21474870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43182943" sldId="21474870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39854147" sldId="21474870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19986855" sldId="21474870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878186423" sldId="214748708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844781546" sldId="214748708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982901995" sldId="21474870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08658575" sldId="214748709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759532752" sldId="214748709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647643842" sldId="214748709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783045463" sldId="214748709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02931972" sldId="214748709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1024431" sldId="21474870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60285631" sldId="214748709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8619597" sldId="214748709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93290789" sldId="21474871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26322304" sldId="21474871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503393694" sldId="21474871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92589500" sldId="21474871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53485271" sldId="21474871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95870651" sldId="214748710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128825244" sldId="214748711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99238068" sldId="214748711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49862182" sldId="214748711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63852016" sldId="214748711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13736809" sldId="214748711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99434678" sldId="214748711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468056590" sldId="214748711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19438968" sldId="214748711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23871782" sldId="214748711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665694493" sldId="214748712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73350505" sldId="214748712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599849130" sldId="214748712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11595628" sldId="214748712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09251650" sldId="214748712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22428475" sldId="21474871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9805404" sldId="214748712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548702167" sldId="214748712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57713067" sldId="214748712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73097338" sldId="214748713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16179664" sldId="214748713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0493336" sldId="21474871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74977627" sldId="214748713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34355322" sldId="214748713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9001456" sldId="21474871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661880748" sldId="21474871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19786099" sldId="214748713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69168792" sldId="214748713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58112831" sldId="214748713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123635138" sldId="214748714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72360139" sldId="214748714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939256970" sldId="214748714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04300062" sldId="21474871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81420108" sldId="214748716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10091495" sldId="214748716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41914057" sldId="21474871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84230286" sldId="21474871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82798914" sldId="21474871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91199215" sldId="21474871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29515799" sldId="21474871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48436128" sldId="21474871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83270214" sldId="21474871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5964228" sldId="214748718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03719949" sldId="21474871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90515151" sldId="214748719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03686679" sldId="21474872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65481949" sldId="21474872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4801019" sldId="21474872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07914573" sldId="214748720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02775852" sldId="214748721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47288010" sldId="214748721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525519462" sldId="214748721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898032396" sldId="214748721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04125666" sldId="214748721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25845292" sldId="214748721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756388239" sldId="214748721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68412230" sldId="214748721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07651266" sldId="214748721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18896833" sldId="214748721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682089770" sldId="214748722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657758517" sldId="214748722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323406442" sldId="214748722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577243743" sldId="214748722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965875377" sldId="214748722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94216092" sldId="214748722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91876091" sldId="21474872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981815734" sldId="214748722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5213743" sldId="214748722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1114809" sldId="214748722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68810016" sldId="214748723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147740735" sldId="21474872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95849402" sldId="214748723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62217939" sldId="214748723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629127" sldId="21474872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32741348" sldId="21474872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042047047" sldId="214748723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98479306" sldId="214748724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5636675" sldId="214748724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94065546" sldId="214748724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75016611" sldId="214748724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1954738" sldId="21474872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572710091" sldId="21474872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62430371" sldId="21474872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88036761" sldId="21474872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882342115" sldId="21474872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14054778" sldId="21474872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36486368" sldId="21474872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70705443" sldId="214748726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548020355" sldId="214748727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062208845" sldId="214748727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29070028" sldId="214748727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89649185" sldId="214748727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48626561" sldId="214748727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627363329" sldId="21474873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52727692" sldId="21474873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386647170" sldId="21474873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226791542" sldId="21474873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69632276" sldId="21474873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663663494" sldId="214748731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97839732" sldId="214748731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829198981" sldId="214748731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290579671" sldId="214748731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56972729" sldId="214748734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541926387" sldId="214748734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86669273" sldId="2147487349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29644005" sldId="21474873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09868767" sldId="21474873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75216660" sldId="214748735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476272431" sldId="21474873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69300124" sldId="214748735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91076637" sldId="214748736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98157548" sldId="214748736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81420108" sldId="214748736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838803846" sldId="214748736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46898753" sldId="214748736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10091495" sldId="214748736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138240366" sldId="214748737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2630080" sldId="2147487379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732483557" sldId="21474873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98157548" sldId="21474873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069300124" sldId="21474873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80140117" sldId="21474873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16851664" sldId="214748807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691578072" sldId="21474880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179854312" sldId="214748808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132318659" sldId="21474880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8904194" sldId="21474880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83035621" sldId="21474880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534488667" sldId="21474880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984238912" sldId="21474880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12020187" sldId="214748808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982798914" sldId="214748808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71771967" sldId="21474880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791199215" sldId="214748809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629515799" sldId="214748809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48436128" sldId="214748809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683270214" sldId="214748809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714228870" sldId="214748809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48015493" sldId="214748809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5964228" sldId="21474880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03719949" sldId="214748809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590515151" sldId="214748809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391810783" sldId="214748809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478274380" sldId="21474881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5171903" sldId="21474881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225845292" sldId="21474881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394216092" sldId="21474881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797839732" sldId="21474881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27921214" sldId="21474881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1920976" sldId="21474881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635804420" sldId="21474881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630801759" sldId="2147488108"/>
          </pc:sldLayoutMkLst>
        </pc:sldLayoutChg>
        <pc:sldLayoutChg chg="add 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98157548" sldId="2147488109"/>
          </pc:sldLayoutMkLst>
        </pc:sldLayoutChg>
        <pc:sldLayoutChg chg="add 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98148766" sldId="2147488110"/>
          </pc:sldLayoutMkLst>
        </pc:sldLayoutChg>
        <pc:sldLayoutChg chg="add 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980529727" sldId="214748811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59781530" sldId="214748811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30117215" sldId="214748811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83420" sldId="214748811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01596344" sldId="214748812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543003970" sldId="214748812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022153863" sldId="214748812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888436358" sldId="214748812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546532180" sldId="214748812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36500789" sldId="214748812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576538025" sldId="214748812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724847678" sldId="214748812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083649414" sldId="214748812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97111013" sldId="214748812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000008366" sldId="214748813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318321361" sldId="214748813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559555195" sldId="214748813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741522953" sldId="214748813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08668804" sldId="214748813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01862111" sldId="214748813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57949696" sldId="214748813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496907520" sldId="214748813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362774728" sldId="214748813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459463894" sldId="214748814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543247745" sldId="214748814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069414299" sldId="2147488142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93753234" sldId="2147488145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30479694" sldId="2147488146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80529727" sldId="214748814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91337409" sldId="21474881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480140117" sldId="21474881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14599787" sldId="21474881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91682188" sldId="21474881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980529727" sldId="21474881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37652033" sldId="21474881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103439267" sldId="21474881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77496322" sldId="214748815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847879164" sldId="21474881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79302691" sldId="214748815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35420318" sldId="214748816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65852557" sldId="214748816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26228292" sldId="214748816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10922533" sldId="214748818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01596344" sldId="214748818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193561641" sldId="214748818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845267698" sldId="214748818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175297497" sldId="214748818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578663217" sldId="214748818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820774020" sldId="214748818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834594192" sldId="214748818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56315279" sldId="214748818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100288109" sldId="214748818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796376101" sldId="214748819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892886451" sldId="214748819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806159376" sldId="214748819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088616943" sldId="214748819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246938417" sldId="214748819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83550571" sldId="214748819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220877040" sldId="214748819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58278594" sldId="214748819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89404483" sldId="214748819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403478424" sldId="214748819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859098044" sldId="214748820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945276364" sldId="214748820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18021461" sldId="214748820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675864542" sldId="214748820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978282302" sldId="214748820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7104982" sldId="214748820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795372134" sldId="214748820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217828020" sldId="214748820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627648628" sldId="214748820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326122543" sldId="214748820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462054694" sldId="214748821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29055294" sldId="214748821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986171260" sldId="214748821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2080090535" sldId="214748821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27921214" sldId="214748821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41920976" sldId="214748821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35804420" sldId="214748821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60585276" sldId="214748821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2309666298" sldId="214748821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1656760714" sldId="214748821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935649411" sldId="214748822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551432267" sldId="214748822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480461207" sldId="214748822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1873984959" sldId="214748822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989504779" sldId="2147483734"/>
            <pc:sldLayoutMk cId="3729066305" sldId="214748822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478274380" sldId="214748822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989504779" sldId="2147483734"/>
            <pc:sldLayoutMk cId="3308841809" sldId="2147488226"/>
          </pc:sldLayoutMkLst>
        </pc:sldLayoutChg>
      </pc:sldMasterChg>
      <pc:sldMasterChg chg="modSldLayout">
        <pc:chgData name="Alana Rivera" userId="S::arg3669@ads.northwestern.edu::fc8b707a-b7e9-4f2a-8d71-2d76819b7881" providerId="AD" clId="Web-{67649608-EE4D-C43A-E301-DBB134EB9A2F}" dt="2024-01-09T19:54:46.987" v="55"/>
        <pc:sldMasterMkLst>
          <pc:docMk/>
          <pc:sldMasterMk cId="3029083726" sldId="2147484574"/>
        </pc:sldMasterMkLst>
        <pc:sldLayoutChg chg="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3029083726" sldId="2147484574"/>
            <pc:sldLayoutMk cId="3586197295" sldId="2147488111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3029083726" sldId="2147484574"/>
            <pc:sldLayoutMk cId="1365951717" sldId="2147488112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3029083726" sldId="2147484574"/>
            <pc:sldLayoutMk cId="1826337109" sldId="2147488113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3029083726" sldId="2147484574"/>
            <pc:sldLayoutMk cId="2771729954" sldId="2147488115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54:46.987" v="55"/>
          <pc:sldLayoutMkLst>
            <pc:docMk/>
            <pc:sldMasterMk cId="3029083726" sldId="2147484574"/>
            <pc:sldLayoutMk cId="810305884" sldId="2147488117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3029083726" sldId="2147484574"/>
            <pc:sldLayoutMk cId="351298652" sldId="2147488148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3029083726" sldId="2147484574"/>
            <pc:sldLayoutMk cId="1117489980" sldId="2147488163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3029083726" sldId="2147484574"/>
            <pc:sldLayoutMk cId="2419921863" sldId="2147488164"/>
          </pc:sldLayoutMkLst>
        </pc:sldLayoutChg>
        <pc:sldLayoutChg chg="replId">
          <pc:chgData name="Alana Rivera" userId="S::arg3669@ads.northwestern.edu::fc8b707a-b7e9-4f2a-8d71-2d76819b7881" providerId="AD" clId="Web-{67649608-EE4D-C43A-E301-DBB134EB9A2F}" dt="2024-01-09T19:31:02.109" v="7"/>
          <pc:sldLayoutMkLst>
            <pc:docMk/>
            <pc:sldMasterMk cId="3029083726" sldId="2147484574"/>
            <pc:sldLayoutMk cId="2869148103" sldId="2147488165"/>
          </pc:sldLayoutMkLst>
        </pc:sldLayoutChg>
      </pc:sldMasterChg>
      <pc:sldMasterChg chg="add addSldLayout">
        <pc:chgData name="Alana Rivera" userId="S::arg3669@ads.northwestern.edu::fc8b707a-b7e9-4f2a-8d71-2d76819b7881" providerId="AD" clId="Web-{67649608-EE4D-C43A-E301-DBB134EB9A2F}" dt="2024-01-09T19:28:57.137" v="1"/>
        <pc:sldMasterMkLst>
          <pc:docMk/>
          <pc:sldMasterMk cId="0" sldId="2147484781"/>
        </pc:sldMasterMkLst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49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0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1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2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3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4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5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6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7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8"/>
          </pc:sldLayoutMkLst>
        </pc:sldLayoutChg>
        <pc:sldLayoutChg chg="add">
          <pc:chgData name="Alana Rivera" userId="S::arg3669@ads.northwestern.edu::fc8b707a-b7e9-4f2a-8d71-2d76819b7881" providerId="AD" clId="Web-{67649608-EE4D-C43A-E301-DBB134EB9A2F}" dt="2024-01-09T19:28:57.137" v="1"/>
          <pc:sldLayoutMkLst>
            <pc:docMk/>
            <pc:sldMasterMk cId="0" sldId="2147484781"/>
            <pc:sldLayoutMk cId="0" sldId="2147483659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53C9A57E-6439-3844-BF17-DB0184231B4D}"/>
    <pc:docChg chg="modSld">
      <pc:chgData name="Aleena Lida Surenian" userId="S::als0813@ads.northwestern.edu::e2fd0e4e-6417-49b0-ab16-0ba26a1719f0" providerId="AD" clId="Web-{53C9A57E-6439-3844-BF17-DB0184231B4D}" dt="2023-03-06T23:03:44.210" v="154"/>
      <pc:docMkLst>
        <pc:docMk/>
      </pc:docMkLst>
      <pc:sldChg chg="modSp">
        <pc:chgData name="Aleena Lida Surenian" userId="S::als0813@ads.northwestern.edu::e2fd0e4e-6417-49b0-ab16-0ba26a1719f0" providerId="AD" clId="Web-{53C9A57E-6439-3844-BF17-DB0184231B4D}" dt="2023-03-06T23:03:44.210" v="154"/>
        <pc:sldMkLst>
          <pc:docMk/>
          <pc:sldMk cId="3682438970" sldId="698"/>
        </pc:sldMkLst>
        <pc:spChg chg="mod">
          <ac:chgData name="Aleena Lida Surenian" userId="S::als0813@ads.northwestern.edu::e2fd0e4e-6417-49b0-ab16-0ba26a1719f0" providerId="AD" clId="Web-{53C9A57E-6439-3844-BF17-DB0184231B4D}" dt="2023-03-06T23:03:44.210" v="154"/>
          <ac:spMkLst>
            <pc:docMk/>
            <pc:sldMk cId="3682438970" sldId="698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53C9A57E-6439-3844-BF17-DB0184231B4D}" dt="2023-03-06T23:03:38.335" v="153" actId="20577"/>
          <ac:spMkLst>
            <pc:docMk/>
            <pc:sldMk cId="3682438970" sldId="698"/>
            <ac:spMk id="3" creationId="{1419A524-96F5-A0B2-CACE-F9567471AB2E}"/>
          </ac:spMkLst>
        </pc:spChg>
      </pc:sldChg>
      <pc:sldChg chg="addSp delSp modSp">
        <pc:chgData name="Aleena Lida Surenian" userId="S::als0813@ads.northwestern.edu::e2fd0e4e-6417-49b0-ab16-0ba26a1719f0" providerId="AD" clId="Web-{53C9A57E-6439-3844-BF17-DB0184231B4D}" dt="2023-03-06T22:59:58.053" v="115"/>
        <pc:sldMkLst>
          <pc:docMk/>
          <pc:sldMk cId="149255822" sldId="700"/>
        </pc:sldMkLst>
        <pc:spChg chg="mod">
          <ac:chgData name="Aleena Lida Surenian" userId="S::als0813@ads.northwestern.edu::e2fd0e4e-6417-49b0-ab16-0ba26a1719f0" providerId="AD" clId="Web-{53C9A57E-6439-3844-BF17-DB0184231B4D}" dt="2023-03-06T22:59:58.053" v="115"/>
          <ac:spMkLst>
            <pc:docMk/>
            <pc:sldMk cId="149255822" sldId="700"/>
            <ac:spMk id="2" creationId="{7719FD7A-7B92-EC42-6554-FA310B6714B1}"/>
          </ac:spMkLst>
        </pc:spChg>
        <pc:spChg chg="mod">
          <ac:chgData name="Aleena Lida Surenian" userId="S::als0813@ads.northwestern.edu::e2fd0e4e-6417-49b0-ab16-0ba26a1719f0" providerId="AD" clId="Web-{53C9A57E-6439-3844-BF17-DB0184231B4D}" dt="2023-03-06T22:59:09.725" v="53" actId="20577"/>
          <ac:spMkLst>
            <pc:docMk/>
            <pc:sldMk cId="149255822" sldId="700"/>
            <ac:spMk id="3" creationId="{1419A524-96F5-A0B2-CACE-F9567471AB2E}"/>
          </ac:spMkLst>
        </pc:spChg>
        <pc:spChg chg="mod">
          <ac:chgData name="Aleena Lida Surenian" userId="S::als0813@ads.northwestern.edu::e2fd0e4e-6417-49b0-ab16-0ba26a1719f0" providerId="AD" clId="Web-{53C9A57E-6439-3844-BF17-DB0184231B4D}" dt="2023-03-06T22:59:50.381" v="114" actId="20577"/>
          <ac:spMkLst>
            <pc:docMk/>
            <pc:sldMk cId="149255822" sldId="700"/>
            <ac:spMk id="6" creationId="{1B118A30-D372-1791-AC9D-F862CEE17DE5}"/>
          </ac:spMkLst>
        </pc:spChg>
        <pc:picChg chg="del">
          <ac:chgData name="Aleena Lida Surenian" userId="S::als0813@ads.northwestern.edu::e2fd0e4e-6417-49b0-ab16-0ba26a1719f0" providerId="AD" clId="Web-{53C9A57E-6439-3844-BF17-DB0184231B4D}" dt="2023-03-06T22:55:19.678" v="13"/>
          <ac:picMkLst>
            <pc:docMk/>
            <pc:sldMk cId="149255822" sldId="700"/>
            <ac:picMk id="7" creationId="{10D9EF69-B6C8-237A-AC8D-4905C4100603}"/>
          </ac:picMkLst>
        </pc:picChg>
        <pc:picChg chg="del">
          <ac:chgData name="Aleena Lida Surenian" userId="S::als0813@ads.northwestern.edu::e2fd0e4e-6417-49b0-ab16-0ba26a1719f0" providerId="AD" clId="Web-{53C9A57E-6439-3844-BF17-DB0184231B4D}" dt="2023-03-06T22:55:20.897" v="14"/>
          <ac:picMkLst>
            <pc:docMk/>
            <pc:sldMk cId="149255822" sldId="700"/>
            <ac:picMk id="8" creationId="{815893D1-2390-CFB0-6292-63903E4EBA1C}"/>
          </ac:picMkLst>
        </pc:picChg>
        <pc:picChg chg="add mod">
          <ac:chgData name="Aleena Lida Surenian" userId="S::als0813@ads.northwestern.edu::e2fd0e4e-6417-49b0-ab16-0ba26a1719f0" providerId="AD" clId="Web-{53C9A57E-6439-3844-BF17-DB0184231B4D}" dt="2023-03-06T22:58:45.913" v="47" actId="1076"/>
          <ac:picMkLst>
            <pc:docMk/>
            <pc:sldMk cId="149255822" sldId="700"/>
            <ac:picMk id="9" creationId="{CB7B6C7E-057D-FFCA-6E8D-0886B11D8A3D}"/>
          </ac:picMkLst>
        </pc:picChg>
      </pc:sldChg>
    </pc:docChg>
  </pc:docChgLst>
</pc:chgInfo>
</file>

<file path=ppt/comments/modernComment_2BC_8E576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00E7238-F5A4-4A04-94AB-F4BB4DE2A10D}" authorId="{E5FBE01E-7B92-B9C0-0995-5C3FE74E91A1}" status="resolved" created="2024-02-13T19:22:17.573" startDate="2024-02-13T19:22:17.573" dueDate="2024-02-13T19:22:17.573" assignedTo="{0B48CC40-4357-5959-C41E-8F630855A478}" complete="100000" title="@Aleena Lida Surenian please update for St. Francis networks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49255822" sldId="700"/>
      <ac:spMk id="2" creationId="{7719FD7A-7B92-EC42-6554-FA310B6714B1}"/>
    </ac:deMkLst>
    <p188:replyLst>
      <p188:reply id="{26DDAE62-404F-4452-86B9-87BB727DD851}" authorId="{0B48CC40-4357-5959-C41E-8F630855A478}" created="2024-02-15T14:36:40.356">
        <p188:txBody>
          <a:bodyPr/>
          <a:lstStyle/>
          <a:p>
            <a:r>
              <a:rPr lang="en-US"/>
              <a:t>done!</a:t>
            </a:r>
          </a:p>
        </p188:txBody>
      </p188:reply>
    </p188:replyLst>
    <p188:txBody>
      <a:bodyPr/>
      <a:lstStyle/>
      <a:p>
        <a:r>
          <a:rPr lang="en-US"/>
          <a:t>[@Aleena Lida Surenian] please update for St. Francis networks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2-13T19:22:17.573" id="{7D380FE0-7B87-452F-B834-93CCD3C335E4}">
              <p228:atrbtn authorId="{E5FBE01E-7B92-B9C0-0995-5C3FE74E91A1}"/>
              <p228:anchr>
                <p228:comment id="{F00E7238-F5A4-4A04-94AB-F4BB4DE2A10D}"/>
              </p228:anchr>
              <p228:add/>
            </p228:event>
            <p228:event time="2024-02-13T19:22:17.573" id="{B0C2B424-944E-48D8-8492-03DB84534FBE}">
              <p228:atrbtn authorId="{E5FBE01E-7B92-B9C0-0995-5C3FE74E91A1}"/>
              <p228:anchr>
                <p228:comment id="{F00E7238-F5A4-4A04-94AB-F4BB4DE2A10D}"/>
              </p228:anchr>
              <p228:asgn authorId="{0B48CC40-4357-5959-C41E-8F630855A478}"/>
            </p228:event>
            <p228:event time="2024-02-13T19:22:17.573" id="{EDAAE9D2-825B-46C5-A962-CC869C03AB79}">
              <p228:atrbtn authorId="{E5FBE01E-7B92-B9C0-0995-5C3FE74E91A1}"/>
              <p228:anchr>
                <p228:comment id="{F00E7238-F5A4-4A04-94AB-F4BB4DE2A10D}"/>
              </p228:anchr>
              <p228:title val="@Aleena Lida Surenian please update for St. Francis networks"/>
            </p228:event>
            <p228:event time="2024-02-13T19:22:17.573" id="{E581E1E5-B963-4E16-99D8-05457A741666}">
              <p228:atrbtn authorId="{E5FBE01E-7B92-B9C0-0995-5C3FE74E91A1}"/>
              <p228:anchr>
                <p228:comment id="{F00E7238-F5A4-4A04-94AB-F4BB4DE2A10D}"/>
              </p228:anchr>
              <p228:date stDt="2024-02-13T19:22:17.573" endDt="2024-02-13T19:22:17.573"/>
            </p228:event>
            <p228:event time="2024-02-15T14:36:42.996" id="{FD431005-3871-4840-ACCA-3679833AE3CA}">
              <p228:atrbtn authorId="{0B48CC40-4357-5959-C41E-8F630855A478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comments/modernComment_338_424D736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422CD30-1246-401D-9F07-611C89168E5D}" authorId="{E5FBE01E-7B92-B9C0-0995-5C3FE74E91A1}" status="resolved" created="2024-02-13T19:26:00.800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112372070" sldId="824"/>
      <ac:spMk id="2" creationId="{3FB4878F-0400-AE7C-3EEE-62994307E9E4}"/>
    </ac:deMkLst>
    <p188:txBody>
      <a:bodyPr/>
      <a:lstStyle/>
      <a:p>
        <a:r>
          <a:rPr lang="en-US"/>
          <a:t>[@Eileen Fleming Suse]  please update for St. Francis networks</a:t>
        </a:r>
      </a:p>
    </p188:txBody>
  </p188:cm>
</p188:cmLst>
</file>

<file path=ppt/comments/modernComment_346_97A9876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E838E4-51CC-4537-88E9-2E83CB870FFF}" authorId="{E5FBE01E-7B92-B9C0-0995-5C3FE74E91A1}" created="2024-02-29T14:35:24.255">
    <pc:sldMkLst xmlns:pc="http://schemas.microsoft.com/office/powerpoint/2013/main/command">
      <pc:docMk/>
      <pc:sldMk cId="2544469860" sldId="838"/>
    </pc:sldMkLst>
    <p188:replyLst>
      <p188:reply id="{73B3385D-2228-4B42-A0C6-80EE128C7D79}" authorId="{1BCA7BFC-F11C-3E9E-95B3-FA7A4B2C0B61}" created="2024-02-29T15:50:43.803">
        <p188:txBody>
          <a:bodyPr/>
          <a:lstStyle/>
          <a:p>
            <a:r>
              <a:rPr lang="en-US"/>
              <a:t>I added it after this slide. </a:t>
            </a:r>
          </a:p>
        </p188:txBody>
      </p188:reply>
    </p188:replyLst>
    <p188:txBody>
      <a:bodyPr/>
      <a:lstStyle/>
      <a:p>
        <a:r>
          <a:rPr lang="en-US"/>
          <a:t>[@Kiela Karina Moreno] [@Eileen Fleming Suse] should we include the get to green for the first SM that has been discussed so far?</a:t>
        </a:r>
      </a:p>
    </p188:txBody>
  </p188:cm>
</p188:cmLst>
</file>

<file path=ppt/comments/modernComment_34B_8CDB37A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8736915-811F-4606-90BE-513BD70A0D25}" authorId="{E5FBE01E-7B92-B9C0-0995-5C3FE74E91A1}" status="resolved" created="2023-03-01T17:41:03.643">
    <pc:sldMkLst xmlns:pc="http://schemas.microsoft.com/office/powerpoint/2013/main/command">
      <pc:docMk/>
      <pc:sldMk cId="3589410507" sldId="600"/>
    </pc:sldMkLst>
    <p188:txBody>
      <a:bodyPr/>
      <a:lstStyle/>
      <a:p>
        <a:r>
          <a:rPr lang="en-US"/>
          <a:t>[@Eileen Fleming Suse] please update with Loyola network updates based on email requests</a:t>
        </a:r>
      </a:p>
    </p188:txBody>
  </p188:cm>
  <p188:cm id="{2ACAA4EC-A19C-47A4-8AEA-A7CA6A96633E}" authorId="{E5FBE01E-7B92-B9C0-0995-5C3FE74E91A1}" status="resolved" created="2024-01-09T21:11:24.146">
    <pc:sldMkLst xmlns:pc="http://schemas.microsoft.com/office/powerpoint/2013/main/command">
      <pc:docMk/>
      <pc:sldMk cId="3589410507" sldId="600"/>
    </pc:sldMkLst>
    <p188:txBody>
      <a:bodyPr/>
      <a:lstStyle/>
      <a:p>
        <a:r>
          <a:rPr lang="en-US"/>
          <a:t>[@Eileen Fleming Suse] please update with team roster udpates etc.</a:t>
        </a:r>
      </a:p>
    </p188:txBody>
  </p188:cm>
</p188:cmLst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svg"/><Relationship Id="rId3" Type="http://schemas.openxmlformats.org/officeDocument/2006/relationships/image" Target="../media/image137.png"/><Relationship Id="rId7" Type="http://schemas.openxmlformats.org/officeDocument/2006/relationships/image" Target="../media/image139.png"/><Relationship Id="rId2" Type="http://schemas.openxmlformats.org/officeDocument/2006/relationships/image" Target="../media/image188.svg"/><Relationship Id="rId1" Type="http://schemas.openxmlformats.org/officeDocument/2006/relationships/image" Target="../media/image136.png"/><Relationship Id="rId6" Type="http://schemas.openxmlformats.org/officeDocument/2006/relationships/image" Target="../media/image192.svg"/><Relationship Id="rId5" Type="http://schemas.openxmlformats.org/officeDocument/2006/relationships/image" Target="../media/image138.png"/><Relationship Id="rId10" Type="http://schemas.openxmlformats.org/officeDocument/2006/relationships/image" Target="../media/image196.svg"/><Relationship Id="rId4" Type="http://schemas.openxmlformats.org/officeDocument/2006/relationships/image" Target="../media/image190.svg"/><Relationship Id="rId9" Type="http://schemas.openxmlformats.org/officeDocument/2006/relationships/image" Target="../media/image140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svg"/><Relationship Id="rId3" Type="http://schemas.openxmlformats.org/officeDocument/2006/relationships/image" Target="../media/image137.png"/><Relationship Id="rId7" Type="http://schemas.openxmlformats.org/officeDocument/2006/relationships/image" Target="../media/image139.png"/><Relationship Id="rId2" Type="http://schemas.openxmlformats.org/officeDocument/2006/relationships/image" Target="../media/image188.svg"/><Relationship Id="rId1" Type="http://schemas.openxmlformats.org/officeDocument/2006/relationships/image" Target="../media/image136.png"/><Relationship Id="rId6" Type="http://schemas.openxmlformats.org/officeDocument/2006/relationships/image" Target="../media/image192.svg"/><Relationship Id="rId5" Type="http://schemas.openxmlformats.org/officeDocument/2006/relationships/image" Target="../media/image138.png"/><Relationship Id="rId10" Type="http://schemas.openxmlformats.org/officeDocument/2006/relationships/image" Target="../media/image196.svg"/><Relationship Id="rId4" Type="http://schemas.openxmlformats.org/officeDocument/2006/relationships/image" Target="../media/image190.svg"/><Relationship Id="rId9" Type="http://schemas.openxmlformats.org/officeDocument/2006/relationships/image" Target="../media/image14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>
              <a:latin typeface="Calibri" panose="020F0502020204030204"/>
            </a:rPr>
            <a:t>Host</a:t>
          </a:r>
          <a:r>
            <a:rPr lang="en-US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7131C6F-7311-4A33-A9DE-E1E3BE163BA6}" type="pres">
      <dgm:prSet presAssocID="{9C461405-E899-4BDA-847F-F09BF45A07B4}" presName="diamond" presStyleLbl="bgShp" presStyleIdx="0" presStyleCnt="1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  <dgm:t>
        <a:bodyPr/>
        <a:lstStyle/>
        <a:p>
          <a:endParaRPr lang="en-US"/>
        </a:p>
      </dgm:t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  <dgm:t>
        <a:bodyPr/>
        <a:lstStyle/>
        <a:p>
          <a:endParaRPr lang="en-US"/>
        </a:p>
      </dgm:t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  <dgm:t>
        <a:bodyPr/>
        <a:lstStyle/>
        <a:p>
          <a:endParaRPr lang="en-US"/>
        </a:p>
      </dgm:t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  <dgm:t>
        <a:bodyPr/>
        <a:lstStyle/>
        <a:p>
          <a:endParaRPr lang="en-US"/>
        </a:p>
      </dgm:t>
    </dgm:pt>
  </dgm:ptLst>
  <dgm:cxnLst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r>
            <a:rPr lang="en-US" b="0" i="0"/>
            <a:t>Data submission Baseline-March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registered and attended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A85F83D-A443-4DFD-AF61-D3F40C4EB9C7}" type="doc">
      <dgm:prSet loTypeId="urn:microsoft.com/office/officeart/2005/8/layout/hProcess9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D4552F6-1B3B-4EA2-8E73-5E0E113E3398}">
      <dgm:prSet phldrT="[Text]" phldr="0"/>
      <dgm:spPr/>
      <dgm:t>
        <a:bodyPr/>
        <a:lstStyle/>
        <a:p>
          <a:r>
            <a:rPr lang="en-US">
              <a:solidFill>
                <a:schemeClr val="bg1"/>
              </a:solidFill>
              <a:latin typeface="Arial"/>
            </a:rPr>
            <a:t>Teams who have achieved an NTSV C-Section Rate below 23.6% will be moving into sustainability</a:t>
          </a:r>
          <a:endParaRPr lang="en-US">
            <a:solidFill>
              <a:schemeClr val="bg1"/>
            </a:solidFill>
          </a:endParaRPr>
        </a:p>
      </dgm:t>
    </dgm:pt>
    <dgm:pt modelId="{2F2BD4BA-286F-497A-88D8-1A1AD4DBD3A6}" type="parTrans" cxnId="{580C4330-B5C9-42D6-AC03-EA39D93644BB}">
      <dgm:prSet/>
      <dgm:spPr/>
      <dgm:t>
        <a:bodyPr/>
        <a:lstStyle/>
        <a:p>
          <a:endParaRPr lang="en-US"/>
        </a:p>
      </dgm:t>
    </dgm:pt>
    <dgm:pt modelId="{A1869EEF-86E6-413A-8B79-BC3239ED9158}" type="sibTrans" cxnId="{580C4330-B5C9-42D6-AC03-EA39D93644BB}">
      <dgm:prSet/>
      <dgm:spPr/>
      <dgm:t>
        <a:bodyPr/>
        <a:lstStyle/>
        <a:p>
          <a:endParaRPr lang="en-US"/>
        </a:p>
      </dgm:t>
    </dgm:pt>
    <dgm:pt modelId="{AED6A050-D094-40CB-A6B4-0C6BB8BB4ABA}">
      <dgm:prSet phldr="0"/>
      <dgm:spPr/>
      <dgm:t>
        <a:bodyPr/>
        <a:lstStyle/>
        <a:p>
          <a:pPr rtl="0"/>
          <a:r>
            <a:rPr lang="en-US">
              <a:solidFill>
                <a:schemeClr val="bg1"/>
              </a:solidFill>
              <a:latin typeface="Calibri"/>
              <a:cs typeface="Calibri"/>
            </a:rPr>
            <a:t>Teams still working to reduce their NTSV C-Section Rate will participate in small group coaching</a:t>
          </a:r>
        </a:p>
      </dgm:t>
    </dgm:pt>
    <dgm:pt modelId="{720EEF04-94D2-4227-9D29-997D9BB43A28}" type="parTrans" cxnId="{889BF856-E08D-4587-B78E-FF85772EED96}">
      <dgm:prSet/>
      <dgm:spPr/>
      <dgm:t>
        <a:bodyPr/>
        <a:lstStyle/>
        <a:p>
          <a:endParaRPr lang="en-US"/>
        </a:p>
      </dgm:t>
    </dgm:pt>
    <dgm:pt modelId="{2190C9D2-CCEB-4A6F-AF3A-73B08DE8FF81}" type="sibTrans" cxnId="{889BF856-E08D-4587-B78E-FF85772EED96}">
      <dgm:prSet/>
      <dgm:spPr/>
      <dgm:t>
        <a:bodyPr/>
        <a:lstStyle/>
        <a:p>
          <a:endParaRPr lang="en-US"/>
        </a:p>
      </dgm:t>
    </dgm:pt>
    <dgm:pt modelId="{CBE02A24-EADA-41B6-AB7F-B051C80FB87B}" type="pres">
      <dgm:prSet presAssocID="{7A85F83D-A443-4DFD-AF61-D3F40C4EB9C7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1F32960-4EEF-4D8A-BA58-58A00FB9F529}" type="pres">
      <dgm:prSet presAssocID="{7A85F83D-A443-4DFD-AF61-D3F40C4EB9C7}" presName="arrow" presStyleLbl="bgShp" presStyleIdx="0" presStyleCnt="1"/>
      <dgm:spPr/>
    </dgm:pt>
    <dgm:pt modelId="{68C44423-E17F-43E6-B258-16697E765C61}" type="pres">
      <dgm:prSet presAssocID="{7A85F83D-A443-4DFD-AF61-D3F40C4EB9C7}" presName="linearProcess" presStyleCnt="0"/>
      <dgm:spPr/>
    </dgm:pt>
    <dgm:pt modelId="{4C71145D-28EC-42AA-B504-3CB4517B2029}" type="pres">
      <dgm:prSet presAssocID="{AED6A050-D094-40CB-A6B4-0C6BB8BB4ABA}" presName="text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D715EC-C102-4EC9-AC42-5777E637FA56}" type="pres">
      <dgm:prSet presAssocID="{2190C9D2-CCEB-4A6F-AF3A-73B08DE8FF81}" presName="sibTrans" presStyleCnt="0"/>
      <dgm:spPr/>
    </dgm:pt>
    <dgm:pt modelId="{60BD5468-1F51-4C7E-8BF8-5218507C84A3}" type="pres">
      <dgm:prSet presAssocID="{4D4552F6-1B3B-4EA2-8E73-5E0E113E3398}" presName="text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7E35750-7C23-4C25-A8E5-CEB1FF3981B0}" type="presOf" srcId="{4D4552F6-1B3B-4EA2-8E73-5E0E113E3398}" destId="{60BD5468-1F51-4C7E-8BF8-5218507C84A3}" srcOrd="0" destOrd="0" presId="urn:microsoft.com/office/officeart/2005/8/layout/hProcess9"/>
    <dgm:cxn modelId="{E7A792FB-C306-4E30-8B46-F54D155C6217}" type="presOf" srcId="{AED6A050-D094-40CB-A6B4-0C6BB8BB4ABA}" destId="{4C71145D-28EC-42AA-B504-3CB4517B2029}" srcOrd="0" destOrd="0" presId="urn:microsoft.com/office/officeart/2005/8/layout/hProcess9"/>
    <dgm:cxn modelId="{8CA73206-B661-4093-8428-01B8C8C1B0FD}" type="presOf" srcId="{7A85F83D-A443-4DFD-AF61-D3F40C4EB9C7}" destId="{CBE02A24-EADA-41B6-AB7F-B051C80FB87B}" srcOrd="0" destOrd="0" presId="urn:microsoft.com/office/officeart/2005/8/layout/hProcess9"/>
    <dgm:cxn modelId="{580C4330-B5C9-42D6-AC03-EA39D93644BB}" srcId="{7A85F83D-A443-4DFD-AF61-D3F40C4EB9C7}" destId="{4D4552F6-1B3B-4EA2-8E73-5E0E113E3398}" srcOrd="1" destOrd="0" parTransId="{2F2BD4BA-286F-497A-88D8-1A1AD4DBD3A6}" sibTransId="{A1869EEF-86E6-413A-8B79-BC3239ED9158}"/>
    <dgm:cxn modelId="{889BF856-E08D-4587-B78E-FF85772EED96}" srcId="{7A85F83D-A443-4DFD-AF61-D3F40C4EB9C7}" destId="{AED6A050-D094-40CB-A6B4-0C6BB8BB4ABA}" srcOrd="0" destOrd="0" parTransId="{720EEF04-94D2-4227-9D29-997D9BB43A28}" sibTransId="{2190C9D2-CCEB-4A6F-AF3A-73B08DE8FF81}"/>
    <dgm:cxn modelId="{08994450-F89B-462D-BB0F-D07A9C103794}" type="presParOf" srcId="{CBE02A24-EADA-41B6-AB7F-B051C80FB87B}" destId="{C1F32960-4EEF-4D8A-BA58-58A00FB9F529}" srcOrd="0" destOrd="0" presId="urn:microsoft.com/office/officeart/2005/8/layout/hProcess9"/>
    <dgm:cxn modelId="{8B6F4CA0-2B94-4F2B-B80F-1449DC677E4A}" type="presParOf" srcId="{CBE02A24-EADA-41B6-AB7F-B051C80FB87B}" destId="{68C44423-E17F-43E6-B258-16697E765C61}" srcOrd="1" destOrd="0" presId="urn:microsoft.com/office/officeart/2005/8/layout/hProcess9"/>
    <dgm:cxn modelId="{2956B9C2-A716-40E8-8988-2A0470535C9B}" type="presParOf" srcId="{68C44423-E17F-43E6-B258-16697E765C61}" destId="{4C71145D-28EC-42AA-B504-3CB4517B2029}" srcOrd="0" destOrd="0" presId="urn:microsoft.com/office/officeart/2005/8/layout/hProcess9"/>
    <dgm:cxn modelId="{77AC53E6-A73C-48D7-8530-33B63A2D012E}" type="presParOf" srcId="{68C44423-E17F-43E6-B258-16697E765C61}" destId="{69D715EC-C102-4EC9-AC42-5777E637FA56}" srcOrd="1" destOrd="0" presId="urn:microsoft.com/office/officeart/2005/8/layout/hProcess9"/>
    <dgm:cxn modelId="{6C726964-DA6A-456F-A06C-B4EF359BC181}" type="presParOf" srcId="{68C44423-E17F-43E6-B258-16697E765C61}" destId="{60BD5468-1F51-4C7E-8BF8-5218507C84A3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1068905" y="0"/>
          <a:ext cx="4351338" cy="4351338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1482282" y="413377"/>
          <a:ext cx="1697021" cy="169702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/>
            <a:t>All physicians and providers, nurses, ancillary clinicians and hospital staff completing E-Modules</a:t>
          </a:r>
        </a:p>
      </dsp:txBody>
      <dsp:txXfrm>
        <a:off x="1565124" y="496219"/>
        <a:ext cx="1531337" cy="1531337"/>
      </dsp:txXfrm>
    </dsp:sp>
    <dsp:sp modelId="{67399538-B1C4-4C02-AA54-EC019EDC318E}">
      <dsp:nvSpPr>
        <dsp:cNvPr id="0" name=""/>
        <dsp:cNvSpPr/>
      </dsp:nvSpPr>
      <dsp:spPr>
        <a:xfrm>
          <a:off x="3309844" y="413377"/>
          <a:ext cx="1697021" cy="169702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/>
            <a:t>At least 1 ESSI Team Member attends PQI training</a:t>
          </a:r>
        </a:p>
      </dsp:txBody>
      <dsp:txXfrm>
        <a:off x="3392686" y="496219"/>
        <a:ext cx="1531337" cy="1531337"/>
      </dsp:txXfrm>
    </dsp:sp>
    <dsp:sp modelId="{AD986641-CB14-4D63-8E1D-83F37749B4CF}">
      <dsp:nvSpPr>
        <dsp:cNvPr id="0" name=""/>
        <dsp:cNvSpPr/>
      </dsp:nvSpPr>
      <dsp:spPr>
        <a:xfrm>
          <a:off x="1482282" y="2240939"/>
          <a:ext cx="1697021" cy="169702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>
              <a:latin typeface="Calibri" panose="020F0502020204030204"/>
            </a:rPr>
            <a:t>Host</a:t>
          </a:r>
          <a:r>
            <a:rPr lang="en-US" sz="1500" kern="1200"/>
            <a:t> at least 1 facilitated discussion</a:t>
          </a:r>
        </a:p>
      </dsp:txBody>
      <dsp:txXfrm>
        <a:off x="1565124" y="2323781"/>
        <a:ext cx="1531337" cy="1531337"/>
      </dsp:txXfrm>
    </dsp:sp>
    <dsp:sp modelId="{41B30F7D-63E8-4828-A2D7-8618F5B94D35}">
      <dsp:nvSpPr>
        <dsp:cNvPr id="0" name=""/>
        <dsp:cNvSpPr/>
      </dsp:nvSpPr>
      <dsp:spPr>
        <a:xfrm>
          <a:off x="3309844" y="2240939"/>
          <a:ext cx="1697021" cy="169702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/>
            <a:t>System to facilitate feedback from peers, parents and families </a:t>
          </a:r>
        </a:p>
      </dsp:txBody>
      <dsp:txXfrm>
        <a:off x="3392686" y="2323781"/>
        <a:ext cx="1531337" cy="15313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3661"/>
          <a:ext cx="5182228" cy="77981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35895" y="179120"/>
          <a:ext cx="428900" cy="428900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900690" y="3661"/>
          <a:ext cx="4281537" cy="779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31" tIns="82531" rIns="82531" bIns="82531" numCol="1" spcCol="1270" anchor="ctr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900690" y="3661"/>
        <a:ext cx="4281537" cy="779818"/>
      </dsp:txXfrm>
    </dsp:sp>
    <dsp:sp modelId="{B9A615F9-4B41-4A9E-B2E1-37E1E8A3C4E0}">
      <dsp:nvSpPr>
        <dsp:cNvPr id="0" name=""/>
        <dsp:cNvSpPr/>
      </dsp:nvSpPr>
      <dsp:spPr>
        <a:xfrm>
          <a:off x="0" y="978434"/>
          <a:ext cx="5182228" cy="77981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35895" y="1153894"/>
          <a:ext cx="428900" cy="428900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900690" y="978434"/>
          <a:ext cx="4281537" cy="779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31" tIns="82531" rIns="82531" bIns="82531" numCol="1" spcCol="1270" anchor="ctr" anchorCtr="0">
          <a:noAutofit/>
        </a:bodyPr>
        <a:lstStyle/>
        <a:p>
          <a:pPr lvl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900690" y="978434"/>
        <a:ext cx="4281537" cy="779818"/>
      </dsp:txXfrm>
    </dsp:sp>
    <dsp:sp modelId="{C835CB1C-8BCF-4E68-BA83-388E026FD4EC}">
      <dsp:nvSpPr>
        <dsp:cNvPr id="0" name=""/>
        <dsp:cNvSpPr/>
      </dsp:nvSpPr>
      <dsp:spPr>
        <a:xfrm>
          <a:off x="0" y="1953208"/>
          <a:ext cx="5182228" cy="77981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35895" y="2128667"/>
          <a:ext cx="428900" cy="428900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900690" y="1953208"/>
          <a:ext cx="4281537" cy="779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31" tIns="82531" rIns="82531" bIns="82531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/>
            <a:t>Data submission Baseline-March</a:t>
          </a:r>
          <a:endParaRPr lang="en-US" sz="1900" kern="1200"/>
        </a:p>
      </dsp:txBody>
      <dsp:txXfrm>
        <a:off x="900690" y="1953208"/>
        <a:ext cx="4281537" cy="779818"/>
      </dsp:txXfrm>
    </dsp:sp>
    <dsp:sp modelId="{5337A328-9D44-4FD8-A65D-8843ECCBAEB9}">
      <dsp:nvSpPr>
        <dsp:cNvPr id="0" name=""/>
        <dsp:cNvSpPr/>
      </dsp:nvSpPr>
      <dsp:spPr>
        <a:xfrm>
          <a:off x="0" y="2927982"/>
          <a:ext cx="5182228" cy="77981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35895" y="3103441"/>
          <a:ext cx="428900" cy="428900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900690" y="2927982"/>
          <a:ext cx="4281537" cy="779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31" tIns="82531" rIns="82531" bIns="82531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900690" y="2927982"/>
        <a:ext cx="4281537" cy="779818"/>
      </dsp:txXfrm>
    </dsp:sp>
    <dsp:sp modelId="{5615F553-8E0E-46E9-AADF-90659E3BED77}">
      <dsp:nvSpPr>
        <dsp:cNvPr id="0" name=""/>
        <dsp:cNvSpPr/>
      </dsp:nvSpPr>
      <dsp:spPr>
        <a:xfrm>
          <a:off x="0" y="3902755"/>
          <a:ext cx="5182228" cy="779818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35895" y="4078215"/>
          <a:ext cx="428900" cy="428900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900690" y="3902755"/>
          <a:ext cx="4281537" cy="779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31" tIns="82531" rIns="82531" bIns="82531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i="0" kern="1200"/>
            <a:t>At least 1 ESSI team member registered and attended PQI Training </a:t>
          </a:r>
          <a:endParaRPr lang="en-US" sz="1900" kern="1200"/>
        </a:p>
      </dsp:txBody>
      <dsp:txXfrm>
        <a:off x="900690" y="3902755"/>
        <a:ext cx="4281537" cy="7798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F32960-4EEF-4D8A-BA58-58A00FB9F529}">
      <dsp:nvSpPr>
        <dsp:cNvPr id="0" name=""/>
        <dsp:cNvSpPr/>
      </dsp:nvSpPr>
      <dsp:spPr>
        <a:xfrm>
          <a:off x="656701" y="0"/>
          <a:ext cx="7442613" cy="4555591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71145D-28EC-42AA-B504-3CB4517B2029}">
      <dsp:nvSpPr>
        <dsp:cNvPr id="0" name=""/>
        <dsp:cNvSpPr/>
      </dsp:nvSpPr>
      <dsp:spPr>
        <a:xfrm>
          <a:off x="154021" y="1366677"/>
          <a:ext cx="4117208" cy="182223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solidFill>
                <a:schemeClr val="bg1"/>
              </a:solidFill>
              <a:latin typeface="Calibri"/>
              <a:cs typeface="Calibri"/>
            </a:rPr>
            <a:t>Teams still working to reduce their NTSV C-Section Rate will participate in small group coaching</a:t>
          </a:r>
        </a:p>
      </dsp:txBody>
      <dsp:txXfrm>
        <a:off x="242975" y="1455631"/>
        <a:ext cx="3939300" cy="1644328"/>
      </dsp:txXfrm>
    </dsp:sp>
    <dsp:sp modelId="{60BD5468-1F51-4C7E-8BF8-5218507C84A3}">
      <dsp:nvSpPr>
        <dsp:cNvPr id="0" name=""/>
        <dsp:cNvSpPr/>
      </dsp:nvSpPr>
      <dsp:spPr>
        <a:xfrm>
          <a:off x="4484786" y="1366677"/>
          <a:ext cx="4117208" cy="182223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>
              <a:solidFill>
                <a:schemeClr val="bg1"/>
              </a:solidFill>
              <a:latin typeface="Arial"/>
            </a:rPr>
            <a:t>Teams who have achieved an NTSV C-Section Rate below 23.6% will be moving into sustainability</a:t>
          </a:r>
          <a:endParaRPr lang="en-US" sz="2500" kern="1200">
            <a:solidFill>
              <a:schemeClr val="bg1"/>
            </a:solidFill>
          </a:endParaRPr>
        </a:p>
      </dsp:txBody>
      <dsp:txXfrm>
        <a:off x="4573740" y="1455631"/>
        <a:ext cx="3939300" cy="16443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919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5" name="Google Shape;377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3776" name="Google Shape;377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/>
              <a:t>Implement data-driven, evidence-based practices to improve maternal and infant outcomes using quality improvement science  </a:t>
            </a:r>
          </a:p>
          <a:p>
            <a:pPr marL="171450" indent="-171450"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/>
              <a:t>Over 95% of birthing hospitals and neonatal intensive care units participate in ILPQC </a:t>
            </a:r>
            <a:endParaRPr lang="en-US">
              <a:cs typeface="Calibri"/>
            </a:endParaRPr>
          </a:p>
          <a:p>
            <a:pPr marL="171450" indent="-171450"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/>
              <a:t>Collaborations with OB and Neonatal Community Advisory Boards, and OB and Neonatal Advisory Workgroups participation across the state</a:t>
            </a:r>
            <a:endParaRPr lang="en-US">
              <a:cs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77" name="Google Shape;377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0" name="Google Shape;12710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1" name="Google Shape;12711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12" name="Google Shape;12712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ELLIE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Buidling upon foundations </a:t>
            </a:r>
          </a:p>
          <a:p>
            <a:r>
              <a:rPr lang="en-US"/>
              <a:t>ILPQC Obstetric Teams are working on improving equity and we are looking ahead to continuing this work.</a:t>
            </a:r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6857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We know that there are many things we can do to prevent these death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55495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83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ere is the ESSI key driver diagram. </a:t>
            </a:r>
          </a:p>
          <a:p>
            <a:r>
              <a:rPr lang="en-US"/>
              <a:t>It allows us to distill our vision into manageable tasks.</a:t>
            </a:r>
            <a:endParaRPr lang="en-US">
              <a:cs typeface="Calibri"/>
            </a:endParaRPr>
          </a:p>
          <a:p>
            <a:r>
              <a:rPr lang="en-US"/>
              <a:t>It organizes our improvement aim and the key drivers  into a learning and communication framework. </a:t>
            </a:r>
            <a:endParaRPr lang="en-US">
              <a:cs typeface="Calibri"/>
            </a:endParaRP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7862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As a reminder, here are the four components of getting to green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7CBE1-5D69-F5AF-9D39-55245B7E3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105C20-7CA2-9EC9-9F4A-E13023D499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2DEADB-B99C-F62F-DBBB-770E8E821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28E4B5-5583-634A-C0B1-7382F5FDD4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5337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Teams who have maintained an NTSV C-Section Rate below 23.6% moving to sustainability</a:t>
            </a: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Draft your sustainability plan and submit to PNAs and ILPQC by January 31st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Reviewing your data by race, ethnicity and insurance status and addressing disparities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Attend Quarterly Sustainability Calls</a:t>
            </a:r>
            <a:endParaRPr lang="en-US">
              <a:cs typeface="Calibri"/>
            </a:endParaRPr>
          </a:p>
          <a:p>
            <a:pPr marL="171450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Teams still working to reduce and maintain their NTSV C-Section Rate will be invited to participate in small group coaching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Quarterly small group coaching calls 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Key Players Meetings</a:t>
            </a:r>
            <a:endParaRPr lang="en-US">
              <a:cs typeface="Calibri"/>
            </a:endParaRPr>
          </a:p>
          <a:p>
            <a:pPr marL="628650" lvl="1" indent="-171450">
              <a:spcBef>
                <a:spcPts val="1000"/>
              </a:spcBef>
              <a:buFont typeface="Arial"/>
              <a:buChar char="•"/>
            </a:pPr>
            <a:r>
              <a:rPr lang="en-US"/>
              <a:t>Individual </a:t>
            </a:r>
            <a:r>
              <a:rPr lang="en-US" err="1"/>
              <a:t>Outrea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7829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2574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LA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7117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 plan to continue PVB into 2023 to help teams get across</a:t>
            </a:r>
            <a:r>
              <a:rPr lang="en-US" baseline="0"/>
              <a:t> the finish line. We are in the process of working on how that will look and we welcome your feedback!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LANA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019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>
              <a:defRPr/>
            </a:pPr>
            <a:fld id="{B1A400F9-CF10-4F94-84BB-F76AD0810D3E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48145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member DON’T overthink it start sma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528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/>
          <a:lstStyle/>
          <a:p>
            <a:r>
              <a:rPr lang="en-US">
                <a:cs typeface="Calibri"/>
              </a:rPr>
              <a:t>Blessing – complete (23)</a:t>
            </a:r>
          </a:p>
          <a:p>
            <a:r>
              <a:rPr lang="en-US">
                <a:cs typeface="Calibri"/>
              </a:rPr>
              <a:t>Carle foundation – no data since </a:t>
            </a:r>
            <a:r>
              <a:rPr lang="en-US" err="1">
                <a:cs typeface="Calibri"/>
              </a:rPr>
              <a:t>december</a:t>
            </a:r>
            <a:r>
              <a:rPr lang="en-US">
                <a:cs typeface="Calibri"/>
              </a:rPr>
              <a:t> 2022 (19)</a:t>
            </a:r>
          </a:p>
          <a:p>
            <a:r>
              <a:rPr lang="en-US">
                <a:cs typeface="Calibri"/>
              </a:rPr>
              <a:t>Carle </a:t>
            </a:r>
            <a:r>
              <a:rPr lang="en-US" err="1">
                <a:cs typeface="Calibri"/>
              </a:rPr>
              <a:t>richland</a:t>
            </a:r>
            <a:r>
              <a:rPr lang="en-US">
                <a:cs typeface="Calibri"/>
              </a:rPr>
              <a:t> memorial – only 1 month submitted in </a:t>
            </a:r>
            <a:r>
              <a:rPr lang="en-US" err="1">
                <a:cs typeface="Calibri"/>
              </a:rPr>
              <a:t>january</a:t>
            </a:r>
            <a:r>
              <a:rPr lang="en-US">
                <a:cs typeface="Calibri"/>
              </a:rPr>
              <a:t> 2023 (1)</a:t>
            </a:r>
          </a:p>
          <a:p>
            <a:r>
              <a:rPr lang="en-US">
                <a:cs typeface="Calibri"/>
              </a:rPr>
              <a:t>Decatur memorial – missing baseline oct, </a:t>
            </a:r>
            <a:r>
              <a:rPr lang="en-US" err="1">
                <a:cs typeface="Calibri"/>
              </a:rPr>
              <a:t>nov</a:t>
            </a:r>
            <a:r>
              <a:rPr lang="en-US">
                <a:cs typeface="Calibri"/>
              </a:rPr>
              <a:t>, dec 2020 and march 2023 data (19)</a:t>
            </a:r>
          </a:p>
          <a:p>
            <a:r>
              <a:rPr lang="en-US">
                <a:cs typeface="Calibri"/>
              </a:rPr>
              <a:t>Gibson area – complete (23)</a:t>
            </a:r>
          </a:p>
          <a:p>
            <a:r>
              <a:rPr lang="en-US">
                <a:cs typeface="Calibri"/>
              </a:rPr>
              <a:t>HSHS </a:t>
            </a:r>
            <a:r>
              <a:rPr lang="en-US" err="1">
                <a:cs typeface="Calibri"/>
              </a:rPr>
              <a:t>s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rancis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litchfield</a:t>
            </a:r>
            <a:r>
              <a:rPr lang="en-US">
                <a:cs typeface="Calibri"/>
              </a:rPr>
              <a:t> – missing sept &amp; oct 2022 data (21)</a:t>
            </a:r>
          </a:p>
          <a:p>
            <a:r>
              <a:rPr lang="en-US">
                <a:cs typeface="Calibri"/>
              </a:rPr>
              <a:t>HSHS </a:t>
            </a:r>
            <a:r>
              <a:rPr lang="en-US" err="1">
                <a:cs typeface="Calibri"/>
              </a:rPr>
              <a:t>st</a:t>
            </a:r>
            <a:r>
              <a:rPr lang="en-US">
                <a:cs typeface="Calibri"/>
              </a:rPr>
              <a:t> john's – missing march 2023 data (22)</a:t>
            </a:r>
          </a:p>
          <a:p>
            <a:r>
              <a:rPr lang="en-US">
                <a:cs typeface="Calibri"/>
              </a:rPr>
              <a:t>Memorial medical center – complete (23)</a:t>
            </a:r>
          </a:p>
          <a:p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63741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ew language on sustaining birth equity work – requiring SMM data and NTSV data, patient/community engagement </a:t>
            </a:r>
            <a:endParaRPr lang="en-US"/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Infrastructure in place to continue equity work – things in place to actively do work together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826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/>
          <a:lstStyle/>
          <a:p>
            <a:r>
              <a:rPr lang="en-US" b="1">
                <a:cs typeface="Calibri"/>
              </a:rPr>
              <a:t>PREM survey in place:</a:t>
            </a:r>
          </a:p>
          <a:p>
            <a:r>
              <a:rPr lang="en-US">
                <a:cs typeface="Calibri"/>
              </a:rPr>
              <a:t>Carle Foundation</a:t>
            </a:r>
          </a:p>
          <a:p>
            <a:r>
              <a:rPr lang="en-US">
                <a:cs typeface="Calibri"/>
              </a:rPr>
              <a:t>Carle Richland Memorial Hospital</a:t>
            </a:r>
          </a:p>
          <a:p>
            <a:r>
              <a:rPr lang="en-US">
                <a:cs typeface="Calibri"/>
              </a:rPr>
              <a:t>HSHS St. Francis Hospital – Litchfield</a:t>
            </a:r>
          </a:p>
          <a:p>
            <a:r>
              <a:rPr lang="en-US">
                <a:cs typeface="Calibri"/>
              </a:rPr>
              <a:t>Memorial Medical Center</a:t>
            </a:r>
          </a:p>
          <a:p>
            <a:endParaRPr lang="en-US">
              <a:cs typeface="Calibri"/>
            </a:endParaRPr>
          </a:p>
          <a:p>
            <a:r>
              <a:rPr lang="en-US" b="1">
                <a:cs typeface="Calibri"/>
              </a:rPr>
              <a:t>PREM submissions:</a:t>
            </a:r>
          </a:p>
          <a:p>
            <a:r>
              <a:rPr lang="en-US">
                <a:cs typeface="Calibri"/>
              </a:rPr>
              <a:t>Carle Foundation – 4</a:t>
            </a:r>
          </a:p>
          <a:p>
            <a:r>
              <a:rPr lang="en-US">
                <a:cs typeface="Calibri"/>
              </a:rPr>
              <a:t>HSHS St. John's – 3</a:t>
            </a:r>
          </a:p>
          <a:p>
            <a:r>
              <a:rPr lang="en-US">
                <a:cs typeface="Calibri"/>
              </a:rPr>
              <a:t>Memorial Medical Center - 7</a:t>
            </a:r>
          </a:p>
        </p:txBody>
      </p:sp>
    </p:spTree>
    <p:extLst>
      <p:ext uri="{BB962C8B-B14F-4D97-AF65-F5344CB8AC3E}">
        <p14:creationId xmlns:p14="http://schemas.microsoft.com/office/powerpoint/2010/main" val="846438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FA1E65-92E1-406D-BB15-6397A15BE76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74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0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0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0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7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7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7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0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0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0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10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7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7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7.xml"/></Relationships>
</file>

<file path=ppt/slideLayouts/_rels/slideLayout1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7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7.xml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7.xml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7.xml"/></Relationships>
</file>

<file path=ppt/slideLayouts/_rels/slideLayout1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7.xml"/></Relationships>
</file>

<file path=ppt/slideLayouts/_rels/slideLayout1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7.xml"/></Relationships>
</file>

<file path=ppt/slideLayouts/_rels/slideLayout1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7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7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7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7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7.xml"/></Relationships>
</file>

<file path=ppt/slideLayouts/_rels/slideLayout1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1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8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8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8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8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1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1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8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8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8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8.xml"/></Relationships>
</file>

<file path=ppt/slideLayouts/_rels/slideLayout1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8.xml"/></Relationships>
</file>

<file path=ppt/slideLayouts/_rels/slideLayout1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1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1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8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8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8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/Relationships>
</file>

<file path=ppt/slideLayouts/_rels/slideLayout1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8.xml"/></Relationships>
</file>

<file path=ppt/slideLayouts/_rels/slideLayout1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8.xml"/></Relationships>
</file>

<file path=ppt/slideLayouts/_rels/slideLayout1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8.xml"/></Relationships>
</file>

<file path=ppt/slideLayouts/_rels/slideLayout1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9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.bin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4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6.bin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8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9.bin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1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9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.bin"/></Relationships>
</file>

<file path=ppt/slideLayouts/_rels/slideLayout5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18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tags" Target="../tags/tag2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svg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9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7.bin"/></Relationships>
</file>

<file path=ppt/slideLayouts/_rels/slideLayout8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2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svg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svg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7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7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7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7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7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7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7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8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8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8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8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8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8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8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8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8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8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8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8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8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8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8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8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8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8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2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2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2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2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2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2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27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27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27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27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2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2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2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284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285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285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2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29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29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52" name="Google Shape;9552;p1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3" name="Google Shape;9553;p1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4" name="Google Shape;9554;p1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55" name="Google Shape;9555;p1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56" name="Google Shape;9556;p1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557" name="Google Shape;9557;p1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p1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p1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p1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p1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0" name="Google Shape;9580;p13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81" name="Google Shape;9581;p13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2" name="Google Shape;9582;p13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83" name="Google Shape;9583;p13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84" name="Google Shape;9584;p1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85" name="Google Shape;9585;p1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86" name="Google Shape;9586;p13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87" name="Google Shape;9587;p1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88" name="Google Shape;9588;p13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89" name="Google Shape;9589;p1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90" name="Google Shape;9590;p1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591" name="Google Shape;9591;p13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3" name="Google Shape;9593;p1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94" name="Google Shape;9594;p1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95" name="Google Shape;9595;p1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96" name="Google Shape;9596;p1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97" name="Google Shape;9597;p1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598" name="Google Shape;9598;p1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599" name="Google Shape;9599;p1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9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1" name="Google Shape;9601;p1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02" name="Google Shape;9602;p1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3" name="Google Shape;9603;p1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4" name="Google Shape;9604;p1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5" name="Google Shape;9605;p1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6" name="Google Shape;9606;p1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7" name="Google Shape;9607;p1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8" name="Google Shape;9608;p1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p1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0" name="Google Shape;9610;p1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11" name="Google Shape;9611;p1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612" name="Google Shape;9612;p13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4" name="Google Shape;9614;p13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5" name="Google Shape;9615;p13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16" name="Google Shape;9616;p1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7" name="Google Shape;9617;p1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8" name="Google Shape;9618;p1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9" name="Google Shape;9619;p1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20" name="Google Shape;9620;p1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21" name="Google Shape;9621;p13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2" name="Google Shape;9622;p13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3" name="Google Shape;9623;p1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4" name="Google Shape;9624;p1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26" name="Google Shape;9626;p1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7" name="Google Shape;9627;p1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8" name="Google Shape;9628;p1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9" name="Google Shape;9629;p1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30" name="Google Shape;9630;p1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31" name="Google Shape;9631;p13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2" name="Google Shape;9632;p13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3" name="Google Shape;9633;p13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4" name="Google Shape;9634;p13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5" name="Google Shape;9635;p13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1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7" name="Google Shape;9637;p1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38" name="Google Shape;9638;p1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0" name="Google Shape;9640;p1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1" name="Google Shape;9641;p1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2" name="Google Shape;9642;p1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3" name="Google Shape;9643;p1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44" name="Google Shape;9644;p1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45" name="Google Shape;9645;p1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6" name="Google Shape;9646;p1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7" name="Google Shape;9647;p1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8" name="Google Shape;9648;p1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0" name="Google Shape;9650;p13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1" name="Google Shape;9651;p13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52" name="Google Shape;9652;p13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53" name="Google Shape;9653;p13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54" name="Google Shape;9654;p13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5" name="Google Shape;9655;p13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56" name="Google Shape;9656;p13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57" name="Google Shape;9657;p13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9" name="Google Shape;9659;p1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0" name="Google Shape;9660;p1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1" name="Google Shape;9661;p1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2" name="Google Shape;9662;p1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63" name="Google Shape;9663;p1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4" name="Google Shape;9664;p1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65" name="Google Shape;9665;p1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66" name="Google Shape;9666;p1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8" name="Google Shape;9668;p3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69" name="Google Shape;9669;p3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0" name="Google Shape;9670;p3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1" name="Google Shape;9671;p3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2" name="Google Shape;9672;p3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73" name="Google Shape;9673;p3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4" name="Google Shape;9674;p3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75" name="Google Shape;9675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9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7" name="Google Shape;9677;p13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78" name="Google Shape;9678;p13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9" name="Google Shape;9679;p13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0" name="Google Shape;9680;p13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81" name="Google Shape;9681;p1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2" name="Google Shape;9682;p13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3" name="Google Shape;9683;p13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9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5" name="Google Shape;9685;p3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86" name="Google Shape;9686;p3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87" name="Google Shape;9687;p3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688" name="Google Shape;9688;p3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9" name="Google Shape;9689;p3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90" name="Google Shape;9690;p3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91" name="Google Shape;9691;p3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9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3" name="Google Shape;9693;p3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94" name="Google Shape;9694;p3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5" name="Google Shape;9695;p3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6" name="Google Shape;9696;p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97" name="Google Shape;9697;p3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98" name="Google Shape;9698;p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99" name="Google Shape;9699;p3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0" name="Google Shape;9700;p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1" name="Google Shape;9701;p3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2" name="Google Shape;9702;p3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03" name="Google Shape;9703;p3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04" name="Google Shape;9704;p3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7" name="Google Shape;9717;p1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8" name="Google Shape;9718;p13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19" name="Google Shape;9719;p1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20" name="Google Shape;9720;p1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1" name="Google Shape;9721;p1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2" name="Google Shape;9722;p1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23" name="Google Shape;9723;p1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24" name="Google Shape;9724;p13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5" name="Google Shape;9725;p13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6" name="Google Shape;9726;p1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7" name="Google Shape;9727;p1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9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9" name="Google Shape;9729;p3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0" name="Google Shape;9730;p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1" name="Google Shape;9731;p3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2" name="Google Shape;9732;p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33" name="Google Shape;9733;p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34" name="Google Shape;9734;p3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5" name="Google Shape;9735;p3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6" name="Google Shape;9736;p3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7" name="Google Shape;9737;p3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8" name="Google Shape;9738;p3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9" name="Google Shape;9739;p3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0" name="Google Shape;9740;p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1" name="Google Shape;9741;p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3" name="Google Shape;9743;p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44" name="Google Shape;9744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5" name="Google Shape;9745;p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46" name="Google Shape;9746;p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47" name="Google Shape;9747;p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48" name="Google Shape;9748;p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9" name="Google Shape;9749;p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0" name="Google Shape;9750;p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1" name="Google Shape;9751;p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9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3" name="Google Shape;9753;p3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4" name="Google Shape;9754;p3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55" name="Google Shape;9755;p3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756" name="Google Shape;9756;p35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57" name="Google Shape;9757;p3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58" name="Google Shape;9758;p3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59" name="Google Shape;9759;p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0" name="Google Shape;9760;p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2" name="Google Shape;9762;p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3" name="Google Shape;9763;p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4" name="Google Shape;9764;p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5" name="Google Shape;9765;p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66" name="Google Shape;9766;p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67" name="Google Shape;9767;p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68" name="Google Shape;9768;p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69" name="Google Shape;9769;p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9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1" name="Google Shape;9771;p13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2" name="Google Shape;9772;p13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3" name="Google Shape;9773;p13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4" name="Google Shape;9774;p1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5" name="Google Shape;9775;p1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76" name="Google Shape;9776;p1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77" name="Google Shape;9777;p1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8" name="Google Shape;9778;p1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9" name="Google Shape;9779;p1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80" name="Google Shape;9780;p1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81" name="Google Shape;9781;p1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82" name="Google Shape;9782;p13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9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4" name="Google Shape;9784;p13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85" name="Google Shape;9785;p13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6" name="Google Shape;9786;p13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87" name="Google Shape;9787;p13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88" name="Google Shape;9788;p13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89" name="Google Shape;9789;p13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0" name="Google Shape;9790;p13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1" name="Google Shape;9791;p1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3" name="Google Shape;9793;p1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94" name="Google Shape;9794;p1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5" name="Google Shape;9795;p1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6" name="Google Shape;9796;p1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7" name="Google Shape;9797;p1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98" name="Google Shape;9798;p1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9" name="Google Shape;9799;p1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9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Google Shape;9801;p13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02" name="Google Shape;9802;p13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03" name="Google Shape;9803;p13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04" name="Google Shape;9804;p13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05" name="Google Shape;9805;p13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06" name="Google Shape;9806;p13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07" name="Google Shape;9807;p13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9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9" name="Google Shape;9809;p13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0" name="Google Shape;9810;p1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1" name="Google Shape;9811;p1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12" name="Google Shape;9812;p1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13" name="Google Shape;9813;p1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4" name="Google Shape;9814;p1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15" name="Google Shape;9815;p1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6" name="Google Shape;9816;p1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7" name="Google Shape;9817;p1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8" name="Google Shape;9818;p1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19" name="Google Shape;9819;p1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820" name="Google Shape;9820;p13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9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2" name="Google Shape;9822;p13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23" name="Google Shape;9823;p1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4" name="Google Shape;9824;p13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5" name="Google Shape;9825;p1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26" name="Google Shape;9826;p1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27" name="Google Shape;9827;p13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8" name="Google Shape;9828;p13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p1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0" name="Google Shape;9830;p1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31" name="Google Shape;9831;p1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p1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4" name="Google Shape;9834;p13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35" name="Google Shape;9835;p1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6" name="Google Shape;9836;p1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7" name="Google Shape;9837;p1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8" name="Google Shape;9838;p1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39" name="Google Shape;9839;p1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40" name="Google Shape;9840;p13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41" name="Google Shape;9841;p13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2" name="Google Shape;9842;p1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3" name="Google Shape;9843;p1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9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45" name="Google Shape;9845;p1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6" name="Google Shape;9846;p1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7" name="Google Shape;9847;p1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48" name="Google Shape;9848;p1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49" name="Google Shape;9849;p1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50" name="Google Shape;9850;p1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1" name="Google Shape;9851;p133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2" name="Google Shape;9852;p133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p13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4" name="Google Shape;9854;p133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5" name="Google Shape;9855;p1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56" name="Google Shape;9856;p1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57" name="Google Shape;9857;p1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9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9" name="Google Shape;9859;p1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0" name="Google Shape;9860;p1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1" name="Google Shape;9861;p1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2" name="Google Shape;9862;p1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63" name="Google Shape;9863;p1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64" name="Google Shape;9864;p13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5" name="Google Shape;9865;p13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66" name="Google Shape;9866;p1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67" name="Google Shape;9867;p1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9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69" name="Google Shape;9869;p13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70" name="Google Shape;9870;p13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71" name="Google Shape;9871;p13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72" name="Google Shape;9872;p133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3" name="Google Shape;9873;p133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4" name="Google Shape;9874;p13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75" name="Google Shape;9875;p1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76" name="Google Shape;9876;p13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9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8" name="Google Shape;9878;p1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9" name="Google Shape;9879;p1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0" name="Google Shape;9880;p1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81" name="Google Shape;9881;p1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82" name="Google Shape;9882;p1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83" name="Google Shape;9883;p1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84" name="Google Shape;9884;p1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85" name="Google Shape;9885;p1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9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7" name="Google Shape;9887;p9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8" name="Google Shape;9888;p9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9" name="Google Shape;9889;p9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90" name="Google Shape;9890;p9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91" name="Google Shape;9891;p9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92" name="Google Shape;9892;p9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3" name="Google Shape;9893;p9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894" name="Google Shape;9894;p9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9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96" name="Google Shape;9896;p133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97" name="Google Shape;9897;p13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8" name="Google Shape;9898;p1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9" name="Google Shape;9899;p13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00" name="Google Shape;9900;p1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01" name="Google Shape;9901;p133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2" name="Google Shape;9902;p133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9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4" name="Google Shape;9904;p1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05" name="Google Shape;9905;p1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6" name="Google Shape;9906;p1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7" name="Google Shape;9907;p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8" name="Google Shape;9908;p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09" name="Google Shape;9909;p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10" name="Google Shape;9910;p1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11" name="Google Shape;9911;p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2" name="Google Shape;9912;p1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13" name="Google Shape;9913;p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14" name="Google Shape;9914;p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15" name="Google Shape;9915;p1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9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7" name="Google Shape;9917;p9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8" name="Google Shape;9918;p9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9" name="Google Shape;9919;p9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20" name="Google Shape;9920;p9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21" name="Google Shape;9921;p9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22" name="Google Shape;9922;p9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23" name="Google Shape;9923;p9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9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5" name="Google Shape;9925;p13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26" name="Google Shape;9926;p13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7" name="Google Shape;9927;p13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8" name="Google Shape;9928;p1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29" name="Google Shape;9929;p1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30" name="Google Shape;9930;p1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31" name="Google Shape;9931;p1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2" name="Google Shape;9932;p1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3" name="Google Shape;9933;p1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34" name="Google Shape;9934;p1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35" name="Google Shape;9935;p1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36" name="Google Shape;9936;p133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8" name="Google Shape;9938;p9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9" name="Google Shape;9939;p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0" name="Google Shape;9940;p9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1" name="Google Shape;9941;p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42" name="Google Shape;9942;p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43" name="Google Shape;9943;p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4" name="Google Shape;9944;p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5" name="Google Shape;9945;p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6" name="Google Shape;9946;p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7" name="Google Shape;9947;p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9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9" name="Google Shape;9949;p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0" name="Google Shape;9950;p9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51" name="Google Shape;9951;p9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2" name="Google Shape;9952;p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3" name="Google Shape;9953;p9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4" name="Google Shape;9954;p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55" name="Google Shape;9955;p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56" name="Google Shape;9956;p9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7" name="Google Shape;9957;p9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58" name="Google Shape;9958;p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59" name="Google Shape;9959;p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9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61" name="Google Shape;9961;p9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62" name="Google Shape;9962;p9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63" name="Google Shape;9963;p9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64" name="Google Shape;9964;p9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65" name="Google Shape;9965;p9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66" name="Google Shape;9966;p9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p9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8" name="Google Shape;9968;p9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9" name="Google Shape;9969;p9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70" name="Google Shape;9970;p9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71" name="Google Shape;9971;p9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2" name="Google Shape;9972;p9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3" name="Google Shape;9973;p9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9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5" name="Google Shape;9975;p9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76" name="Google Shape;9976;p9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77" name="Google Shape;9977;p9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78" name="Google Shape;9978;p9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79" name="Google Shape;9979;p9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80" name="Google Shape;9980;p9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1" name="Google Shape;9981;p9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82" name="Google Shape;9982;p9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83" name="Google Shape;9983;p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85" name="Google Shape;9985;p9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86" name="Google Shape;9986;p9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87" name="Google Shape;9987;p9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88" name="Google Shape;9988;p9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89" name="Google Shape;9989;p9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0" name="Google Shape;9990;p9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1" name="Google Shape;9991;p9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92" name="Google Shape;9992;p9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9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" name="Google Shape;9994;p9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5" name="Google Shape;9995;p9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96" name="Google Shape;9996;p9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97" name="Google Shape;9997;p9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98" name="Google Shape;9998;p9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9" name="Google Shape;9999;p9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0" name="Google Shape;10000;p9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01" name="Google Shape;10001;p9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10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3" name="Google Shape;10003;p90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04" name="Google Shape;10004;p90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5" name="Google Shape;10005;p90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06" name="Google Shape;10006;p9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07" name="Google Shape;10007;p90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08" name="Google Shape;10008;p9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9" name="Google Shape;10009;p9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0" name="Google Shape;10010;p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10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12" name="Google Shape;10012;p3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13" name="Google Shape;10013;p3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4" name="Google Shape;10014;p3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5" name="Google Shape;10015;p3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6" name="Google Shape;10016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17" name="Google Shape;10017;p3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8" name="Google Shape;10018;p3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0" name="Google Shape;10020;p13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1" name="Google Shape;10021;p13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2" name="Google Shape;10022;p13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23" name="Google Shape;10023;p13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4" name="Google Shape;10024;p13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25" name="Google Shape;10025;p13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26" name="Google Shape;10026;p1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p13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9" name="Google Shape;10029;p13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0" name="Google Shape;10030;p13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1" name="Google Shape;10031;p1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32" name="Google Shape;10032;p1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33" name="Google Shape;10033;p1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34" name="Google Shape;10034;p1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5" name="Google Shape;10035;p1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36" name="Google Shape;10036;p1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37" name="Google Shape;10037;p1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38" name="Google Shape;10038;p1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39" name="Google Shape;10039;p13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10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" name="Google Shape;10041;p1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2" name="Google Shape;10042;p1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43" name="Google Shape;10043;p1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4" name="Google Shape;10044;p1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5" name="Google Shape;10045;p1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6" name="Google Shape;10046;p1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7" name="Google Shape;10047;p1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48" name="Google Shape;10048;p1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9" name="Google Shape;10049;p1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0" name="Google Shape;10050;p1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1" name="Google Shape;10051;p1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52" name="Google Shape;10052;p134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54" name="Google Shape;10054;p13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5" name="Google Shape;10055;p1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6" name="Google Shape;10056;p13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7" name="Google Shape;10057;p13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8" name="Google Shape;10058;p13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59" name="Google Shape;10059;p13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0" name="Google Shape;10060;p13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1" name="Google Shape;10061;p13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2" name="Google Shape;10062;p13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3" name="Google Shape;10063;p13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10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5" name="Google Shape;10065;p1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6" name="Google Shape;10066;p1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7" name="Google Shape;10067;p1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8" name="Google Shape;10068;p1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9" name="Google Shape;10069;p1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0" name="Google Shape;10070;p1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71" name="Google Shape;10071;p1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72" name="Google Shape;10072;p13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73" name="Google Shape;10073;p13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74" name="Google Shape;10074;p1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5" name="Google Shape;10075;p1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10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7" name="Google Shape;10077;p1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8" name="Google Shape;10078;p1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9" name="Google Shape;10079;p1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0" name="Google Shape;10080;p1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81" name="Google Shape;10081;p1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82" name="Google Shape;10082;p1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3" name="Google Shape;10083;p13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4" name="Google Shape;10084;p13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5" name="Google Shape;10085;p1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6" name="Google Shape;10086;p1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7" name="Google Shape;10087;p1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8" name="Google Shape;10088;p1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9" name="Google Shape;10089;p1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10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1" name="Google Shape;10091;p1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2" name="Google Shape;10092;p1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3" name="Google Shape;10093;p1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4" name="Google Shape;10094;p1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95" name="Google Shape;10095;p1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96" name="Google Shape;10096;p1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7" name="Google Shape;10097;p1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8" name="Google Shape;10098;p1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9" name="Google Shape;10099;p1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10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01" name="Google Shape;10101;p3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02" name="Google Shape;10102;p3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3" name="Google Shape;10103;p3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04" name="Google Shape;10104;p3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05" name="Google Shape;10105;p3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6" name="Google Shape;10106;p3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7" name="Google Shape;10107;p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8" name="Google Shape;10108;p3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10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0" name="Google Shape;10110;p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1" name="Google Shape;10111;p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2" name="Google Shape;10112;p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13" name="Google Shape;10113;p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4" name="Google Shape;10114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5" name="Google Shape;10115;p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6" name="Google Shape;10116;p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17" name="Google Shape;10117;p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10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9" name="Google Shape;10119;p7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0" name="Google Shape;10120;p7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p7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22" name="Google Shape;10122;p7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23" name="Google Shape;10123;p7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24" name="Google Shape;10124;p7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5" name="Google Shape;10125;p7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26" name="Google Shape;10126;p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10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8" name="Google Shape;10128;p7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29" name="Google Shape;10129;p7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0" name="Google Shape;10130;p7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1" name="Google Shape;10131;p7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32" name="Google Shape;10132;p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3" name="Google Shape;10133;p7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4" name="Google Shape;10134;p7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10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6" name="Google Shape;10136;p13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7" name="Google Shape;10137;p13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8" name="Google Shape;10138;p13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39" name="Google Shape;10139;p1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0" name="Google Shape;10140;p1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1" name="Google Shape;10141;p1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2" name="Google Shape;10142;p1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43" name="Google Shape;10143;p1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4" name="Google Shape;10144;p1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45" name="Google Shape;10145;p1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46" name="Google Shape;10146;p1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147" name="Google Shape;10147;p13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0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9" name="Google Shape;10149;p7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0" name="Google Shape;10150;p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51" name="Google Shape;10151;p7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52" name="Google Shape;10152;p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53" name="Google Shape;10153;p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54" name="Google Shape;10154;p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5" name="Google Shape;10155;p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56" name="Google Shape;10156;p7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7" name="Google Shape;10157;p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58" name="Google Shape;10158;p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10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0" name="Google Shape;10160;p7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1" name="Google Shape;10161;p7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62" name="Google Shape;10162;p7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63" name="Google Shape;10163;p7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4" name="Google Shape;10164;p7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65" name="Google Shape;10165;p7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66" name="Google Shape;10166;p7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67" name="Google Shape;10167;p75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8" name="Google Shape;10168;p75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9" name="Google Shape;10169;p7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70" name="Google Shape;10170;p7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10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2" name="Google Shape;10172;p7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3" name="Google Shape;10173;p7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4" name="Google Shape;10174;p7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5" name="Google Shape;10175;p7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76" name="Google Shape;10176;p7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77" name="Google Shape;10177;p7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8" name="Google Shape;10178;p75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79" name="Google Shape;10179;p75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0" name="Google Shape;10180;p7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81" name="Google Shape;10181;p7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2" name="Google Shape;10182;p7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3" name="Google Shape;10183;p7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4" name="Google Shape;10184;p7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10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6" name="Google Shape;10186;p7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87" name="Google Shape;10187;p7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8" name="Google Shape;10188;p7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89" name="Google Shape;10189;p7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0" name="Google Shape;10190;p7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1" name="Google Shape;10191;p7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92" name="Google Shape;10192;p7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10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4" name="Google Shape;10194;p7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95" name="Google Shape;10195;p7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6" name="Google Shape;10196;p7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7" name="Google Shape;10197;p75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8" name="Google Shape;10198;p7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9" name="Google Shape;10199;p7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00" name="Google Shape;10200;p7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01" name="Google Shape;10201;p7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10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3" name="Google Shape;10203;p7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4" name="Google Shape;10204;p7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5" name="Google Shape;10205;p7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06" name="Google Shape;10206;p7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7" name="Google Shape;10207;p7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8" name="Google Shape;10208;p7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9" name="Google Shape;10209;p7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0" name="Google Shape;10210;p7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10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2" name="Google Shape;10212;p7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3" name="Google Shape;10213;p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14" name="Google Shape;10214;p7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15" name="Google Shape;10215;p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6" name="Google Shape;10216;p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17" name="Google Shape;10217;p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8" name="Google Shape;10218;p7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9" name="Google Shape;10219;p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0" name="Google Shape;10220;p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10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2" name="Google Shape;10222;p134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3" name="Google Shape;10223;p13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4" name="Google Shape;10224;p13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25" name="Google Shape;10225;p13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26" name="Google Shape;10226;p13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27" name="Google Shape;10227;p13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28" name="Google Shape;10228;p13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29" name="Google Shape;10229;p1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10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31" name="Google Shape;10231;p13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32" name="Google Shape;10232;p13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3" name="Google Shape;10233;p13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4" name="Google Shape;10234;p13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35" name="Google Shape;10235;p1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36" name="Google Shape;10236;p13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7" name="Google Shape;10237;p13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10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9" name="Google Shape;10239;p13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40" name="Google Shape;10240;p13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41" name="Google Shape;10241;p13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42" name="Google Shape;10242;p1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3" name="Google Shape;10243;p1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4" name="Google Shape;10244;p1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5" name="Google Shape;10245;p1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46" name="Google Shape;10246;p1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7" name="Google Shape;10247;p1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8" name="Google Shape;10248;p1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49" name="Google Shape;10249;p1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250" name="Google Shape;10250;p135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0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52" name="Google Shape;10252;p13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3" name="Google Shape;10253;p1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4" name="Google Shape;10254;p13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5" name="Google Shape;10255;p1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6" name="Google Shape;10256;p1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57" name="Google Shape;10257;p13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8" name="Google Shape;10258;p13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9" name="Google Shape;10259;p13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0" name="Google Shape;10260;p1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1" name="Google Shape;10261;p1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10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3" name="Google Shape;10263;p1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4" name="Google Shape;10264;p13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65" name="Google Shape;10265;p1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6" name="Google Shape;10266;p1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7" name="Google Shape;10267;p1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8" name="Google Shape;10268;p1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69" name="Google Shape;10269;p1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70" name="Google Shape;10270;p13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1" name="Google Shape;10271;p13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72" name="Google Shape;10272;p1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73" name="Google Shape;10273;p1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10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75" name="Google Shape;10275;p1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76" name="Google Shape;10276;p1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77" name="Google Shape;10277;p1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8" name="Google Shape;10278;p1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79" name="Google Shape;10279;p1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80" name="Google Shape;10280;p13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1" name="Google Shape;10281;p135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2" name="Google Shape;10282;p135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3" name="Google Shape;10283;p13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4" name="Google Shape;10284;p13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5" name="Google Shape;10285;p13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6" name="Google Shape;10286;p1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87" name="Google Shape;10287;p1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10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9" name="Google Shape;10289;p13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90" name="Google Shape;10290;p13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91" name="Google Shape;10291;p13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92" name="Google Shape;10292;p13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93" name="Google Shape;10293;p13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94" name="Google Shape;10294;p13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95" name="Google Shape;10295;p13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10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7" name="Google Shape;10297;p13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98" name="Google Shape;10298;p13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99" name="Google Shape;10299;p13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0" name="Google Shape;10300;p13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1" name="Google Shape;10301;p13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2" name="Google Shape;10302;p13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3" name="Google Shape;10303;p13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4" name="Google Shape;10304;p1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5" name="Google Shape;10305;p13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06" name="Google Shape;10306;p13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07" name="Google Shape;10307;p13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08" name="Google Shape;10308;p13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10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0" name="Google Shape;10310;p13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311" name="Google Shape;10311;p13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12" name="Google Shape;10312;p13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3" name="Google Shape;10313;p13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14" name="Google Shape;10314;p13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5" name="Google Shape;10315;p13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316" name="Google Shape;10316;p1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7" name="Google Shape;10317;p13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9" name="Google Shape;10319;p1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0" name="Google Shape;10320;p1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1" name="Google Shape;10321;p1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22" name="Google Shape;10322;p1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3" name="Google Shape;10323;p1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4" name="Google Shape;10324;p1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5" name="Google Shape;10325;p1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6" name="Google Shape;10326;p1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10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8" name="Google Shape;10328;p1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9" name="Google Shape;10329;p1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0" name="Google Shape;10330;p1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1" name="Google Shape;10331;p1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2" name="Google Shape;10332;p1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33" name="Google Shape;10333;p13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p1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5" name="Google Shape;10335;p1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6" name="Google Shape;10336;p1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10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8" name="Google Shape;10338;p13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9" name="Google Shape;10339;p13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0" name="Google Shape;10340;p13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341" name="Google Shape;10341;p1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342" name="Google Shape;10342;p13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43" name="Google Shape;10343;p1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4" name="Google Shape;10344;p1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45" name="Google Shape;10345;p1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10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7" name="Google Shape;10347;p13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48" name="Google Shape;10348;p13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9" name="Google Shape;10349;p13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0" name="Google Shape;10350;p13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51" name="Google Shape;10351;p1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2" name="Google Shape;10352;p13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53" name="Google Shape;10353;p13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10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5" name="Google Shape;10355;p1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56" name="Google Shape;10356;p1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57" name="Google Shape;10357;p1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58" name="Google Shape;10358;p1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9" name="Google Shape;10359;p1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60" name="Google Shape;10360;p1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361" name="Google Shape;10361;p1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10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3" name="Google Shape;10363;p13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4" name="Google Shape;10364;p13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5" name="Google Shape;10365;p1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6" name="Google Shape;10366;p13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7" name="Google Shape;10367;p1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8" name="Google Shape;10368;p1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69" name="Google Shape;10369;p13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70" name="Google Shape;10370;p1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1" name="Google Shape;10371;p13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2" name="Google Shape;10372;p1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3" name="Google Shape;10373;p1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74" name="Google Shape;10374;p136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6" name="Google Shape;10376;p1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7" name="Google Shape;10377;p1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8" name="Google Shape;10378;p1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9" name="Google Shape;10379;p1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80" name="Google Shape;10380;p1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81" name="Google Shape;10381;p1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82" name="Google Shape;10382;p1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3" name="Google Shape;10383;p1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4" name="Google Shape;10384;p1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85" name="Google Shape;10385;p1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6" name="Google Shape;10386;p1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87" name="Google Shape;10387;p13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0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9" name="Google Shape;10389;p9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90" name="Google Shape;10390;p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1" name="Google Shape;10391;p9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92" name="Google Shape;10392;p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3" name="Google Shape;10393;p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94" name="Google Shape;10394;p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5" name="Google Shape;10395;p9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6" name="Google Shape;10396;p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7" name="Google Shape;10397;p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8" name="Google Shape;10398;p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10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0" name="Google Shape;10400;p9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p9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02" name="Google Shape;10402;p9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03" name="Google Shape;10403;p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04" name="Google Shape;10404;p9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5" name="Google Shape;10405;p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6" name="Google Shape;10406;p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07" name="Google Shape;10407;p9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8" name="Google Shape;10408;p9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9" name="Google Shape;10409;p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0" name="Google Shape;10410;p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2" name="Google Shape;10412;p1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13" name="Google Shape;10413;p1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4" name="Google Shape;10414;p1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15" name="Google Shape;10415;p1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6" name="Google Shape;10416;p1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17" name="Google Shape;10417;p1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8" name="Google Shape;10418;p13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9" name="Google Shape;10419;p13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0" name="Google Shape;10420;p1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21" name="Google Shape;10421;p1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2" name="Google Shape;10422;p1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23" name="Google Shape;10423;p1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4" name="Google Shape;10424;p1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26" name="Google Shape;10426;p9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27" name="Google Shape;10427;p9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28" name="Google Shape;10428;p9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29" name="Google Shape;10429;p9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0" name="Google Shape;10430;p9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31" name="Google Shape;10431;p9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2" name="Google Shape;10432;p9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3" name="Google Shape;10433;p9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4" name="Google Shape;10434;p9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6" name="Google Shape;10436;p9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37" name="Google Shape;10437;p9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8" name="Google Shape;10438;p9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39" name="Google Shape;10439;p91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40" name="Google Shape;10440;p91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1" name="Google Shape;10441;p9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42" name="Google Shape;10442;p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43" name="Google Shape;10443;p9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" name="Google Shape;10445;p9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6" name="Google Shape;10446;p9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7" name="Google Shape;10447;p9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8" name="Google Shape;10448;p9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9" name="Google Shape;10449;p9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0" name="Google Shape;10450;p9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51" name="Google Shape;10451;p9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52" name="Google Shape;10452;p9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0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4" name="Google Shape;10454;p136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5" name="Google Shape;10455;p136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456" name="Google Shape;10456;p136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0457" name="Google Shape;10457;p136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8" name="Google Shape;10458;p136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0459" name="Google Shape;10459;p13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1" name="Google Shape;10461;p8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62" name="Google Shape;10462;p8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3" name="Google Shape;10463;p8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4" name="Google Shape;10464;p8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65" name="Google Shape;10465;p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66" name="Google Shape;10466;p8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7" name="Google Shape;10467;p8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9" name="Google Shape;10469;p8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70" name="Google Shape;10470;p89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71" name="Google Shape;10471;p8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72" name="Google Shape;10472;p8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3" name="Google Shape;10473;p8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74" name="Google Shape;10474;p8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475" name="Google Shape;10475;p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10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7" name="Google Shape;10477;p9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78" name="Google Shape;10478;p9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79" name="Google Shape;10479;p9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80" name="Google Shape;10480;p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81" name="Google Shape;10481;p9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82" name="Google Shape;10482;p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3" name="Google Shape;10483;p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84" name="Google Shape;10484;p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6" name="Google Shape;10486;p1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87" name="Google Shape;10487;p1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8" name="Google Shape;10488;p1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89" name="Google Shape;10489;p1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90" name="Google Shape;10490;p1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91" name="Google Shape;10491;p1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2" name="Google Shape;10492;p13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3" name="Google Shape;10493;p1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94" name="Google Shape;10494;p1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5" name="Google Shape;10495;p1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" name="Google Shape;10497;p1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8" name="Google Shape;10498;p13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99" name="Google Shape;10499;p1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00" name="Google Shape;10500;p1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1" name="Google Shape;10501;p1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02" name="Google Shape;10502;p1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03" name="Google Shape;10503;p1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04" name="Google Shape;10504;p13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5" name="Google Shape;10505;p13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6" name="Google Shape;10506;p1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7" name="Google Shape;10507;p1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09" name="Google Shape;10509;p13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0" name="Google Shape;10510;p1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1" name="Google Shape;10511;p13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2" name="Google Shape;10512;p1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13" name="Google Shape;10513;p1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14" name="Google Shape;10514;p1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5" name="Google Shape;10515;p1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6" name="Google Shape;10516;p1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7" name="Google Shape;10517;p1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8" name="Google Shape;10518;p1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9" name="Google Shape;10519;p1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0" name="Google Shape;10520;p1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1" name="Google Shape;10521;p1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3" name="Google Shape;10523;p13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24" name="Google Shape;10524;p13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5" name="Google Shape;10525;p13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6" name="Google Shape;10526;p1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7" name="Google Shape;10527;p1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8" name="Google Shape;10528;p1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29" name="Google Shape;10529;p1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30" name="Google Shape;10530;p1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31" name="Google Shape;10531;p1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2" name="Google Shape;10532;p1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33" name="Google Shape;10533;p1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34" name="Google Shape;10534;p136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6" name="Google Shape;10536;p13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37" name="Google Shape;10537;p13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8" name="Google Shape;10538;p13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39" name="Google Shape;10539;p13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40" name="Google Shape;10540;p13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1" name="Google Shape;10541;p13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42" name="Google Shape;10542;p1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43" name="Google Shape;10543;p1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45" name="Google Shape;10545;p1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6" name="Google Shape;10546;p1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47" name="Google Shape;10547;p1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48" name="Google Shape;10548;p1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49" name="Google Shape;10549;p1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50" name="Google Shape;10550;p13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1" name="Google Shape;10551;p1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2" name="Google Shape;10552;p1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3" name="Google Shape;10553;p1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0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5" name="Google Shape;10555;p13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6" name="Google Shape;10556;p1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7" name="Google Shape;10557;p1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58" name="Google Shape;10558;p1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9" name="Google Shape;10559;p1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0" name="Google Shape;10560;p1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61" name="Google Shape;10561;p13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62" name="Google Shape;10562;p1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63" name="Google Shape;10563;p13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64" name="Google Shape;10564;p1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65" name="Google Shape;10565;p1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66" name="Google Shape;10566;p13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0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8" name="Google Shape;10568;p13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69" name="Google Shape;10569;p13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0" name="Google Shape;10570;p13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1" name="Google Shape;10571;p1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2" name="Google Shape;10572;p1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3" name="Google Shape;10573;p1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74" name="Google Shape;10574;p13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75" name="Google Shape;10575;p1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6" name="Google Shape;10576;p13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77" name="Google Shape;10577;p1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78" name="Google Shape;10578;p1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79" name="Google Shape;10579;p137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0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1" name="Google Shape;10581;p13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2" name="Google Shape;10582;p13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3" name="Google Shape;10583;p1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584" name="Google Shape;10584;p13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5" name="Google Shape;10585;p1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0586" name="Google Shape;10586;p13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7" name="Google Shape;10587;p13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8" name="Google Shape;10588;p13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p1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0" name="Google Shape;10590;p13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91" name="Google Shape;10591;p1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p13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94" name="Google Shape;10594;p13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5" name="Google Shape;10595;p1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6" name="Google Shape;10596;p13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7" name="Google Shape;10597;p1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8" name="Google Shape;10598;p1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99" name="Google Shape;10599;p1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00" name="Google Shape;10600;p1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1" name="Google Shape;10601;p1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02" name="Google Shape;10602;p1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3" name="Google Shape;10603;p1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04" name="Google Shape;10604;p137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6" name="Google Shape;10606;p3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7" name="Google Shape;10607;p3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8" name="Google Shape;10608;p3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9" name="Google Shape;10609;p3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0" name="Google Shape;10610;p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1" name="Google Shape;10611;p3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2" name="Google Shape;10612;p3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13" name="Google Shape;10613;p3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0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5" name="Google Shape;10615;p13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16" name="Google Shape;10616;p13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7" name="Google Shape;10617;p13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8" name="Google Shape;10618;p1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19" name="Google Shape;10619;p1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0" name="Google Shape;10620;p1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1" name="Google Shape;10621;p1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22" name="Google Shape;10622;p1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3" name="Google Shape;10623;p1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24" name="Google Shape;10624;p1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25" name="Google Shape;10625;p1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26" name="Google Shape;10626;p13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0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8" name="Google Shape;10628;p1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9" name="Google Shape;10629;p1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0" name="Google Shape;10630;p1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1" name="Google Shape;10631;p1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2" name="Google Shape;10632;p1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33" name="Google Shape;10633;p1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34" name="Google Shape;10634;p1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35" name="Google Shape;10635;p1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6" name="Google Shape;10636;p1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7" name="Google Shape;10637;p1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38" name="Google Shape;10638;p1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39" name="Google Shape;10639;p137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0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1" name="Google Shape;10641;p1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42" name="Google Shape;10642;p1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3" name="Google Shape;10643;p1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44" name="Google Shape;10644;p1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45" name="Google Shape;10645;p1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6" name="Google Shape;10646;p1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47" name="Google Shape;10647;p1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48" name="Google Shape;10648;p1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49" name="Google Shape;10649;p1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50" name="Google Shape;10650;p1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51" name="Google Shape;10651;p1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52" name="Google Shape;10652;p1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0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4" name="Google Shape;10654;p13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55" name="Google Shape;10655;p13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6" name="Google Shape;10656;p13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7" name="Google Shape;10657;p1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8" name="Google Shape;10658;p1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9" name="Google Shape;10659;p1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60" name="Google Shape;10660;p1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61" name="Google Shape;10661;p1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2" name="Google Shape;10662;p1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63" name="Google Shape;10663;p1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4" name="Google Shape;10664;p1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65" name="Google Shape;10665;p13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7" name="Google Shape;10667;p77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68" name="Google Shape;10668;p77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p77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70" name="Google Shape;10670;p7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71" name="Google Shape;10671;p77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72" name="Google Shape;10672;p7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3" name="Google Shape;10673;p7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74" name="Google Shape;10674;p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0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6" name="Google Shape;10676;p8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77" name="Google Shape;10677;p8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8" name="Google Shape;10678;p8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9" name="Google Shape;10679;p8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80" name="Google Shape;10680;p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81" name="Google Shape;10681;p8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2" name="Google Shape;10682;p8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4" name="Google Shape;10684;p7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85" name="Google Shape;10685;p7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86" name="Google Shape;10686;p7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87" name="Google Shape;10687;p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8" name="Google Shape;10688;p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689" name="Google Shape;10689;p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90" name="Google Shape;10690;p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0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2" name="Google Shape;10692;p13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93" name="Google Shape;10693;p13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4" name="Google Shape;10694;p13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5" name="Google Shape;10695;p1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6" name="Google Shape;10696;p1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7" name="Google Shape;10697;p1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98" name="Google Shape;10698;p1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9" name="Google Shape;10699;p1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0" name="Google Shape;10700;p1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1" name="Google Shape;10701;p1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2" name="Google Shape;10702;p1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703" name="Google Shape;10703;p13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5" name="Google Shape;10705;p7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06" name="Google Shape;10706;p7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7" name="Google Shape;10707;p7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8" name="Google Shape;10708;p7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9" name="Google Shape;10709;p7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10" name="Google Shape;10710;p7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1" name="Google Shape;10711;p7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2" name="Google Shape;10712;p7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3" name="Google Shape;10713;p7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4" name="Google Shape;10714;p7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6" name="Google Shape;10716;p8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7" name="Google Shape;10717;p8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18" name="Google Shape;10718;p8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9" name="Google Shape;10719;p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0" name="Google Shape;10720;p8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1" name="Google Shape;10721;p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2" name="Google Shape;10722;p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23" name="Google Shape;10723;p81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24" name="Google Shape;10724;p81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5" name="Google Shape;10725;p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6" name="Google Shape;10726;p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28" name="Google Shape;10728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29" name="Google Shape;10729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0" name="Google Shape;10730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1" name="Google Shape;10731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2" name="Google Shape;10732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33" name="Google Shape;10733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4" name="Google Shape;10734;p1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5" name="Google Shape;10735;p1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6" name="Google Shape;10736;p1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7" name="Google Shape;10737;p1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8" name="Google Shape;10738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9" name="Google Shape;10739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0" name="Google Shape;10740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0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2" name="Google Shape;10742;p1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3" name="Google Shape;10743;p1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4" name="Google Shape;10744;p1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5" name="Google Shape;10745;p1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6" name="Google Shape;10746;p1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47" name="Google Shape;10747;p13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8" name="Google Shape;10748;p1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9" name="Google Shape;10749;p1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50" name="Google Shape;10750;p1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0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2" name="Google Shape;10752;p1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53" name="Google Shape;10753;p1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4" name="Google Shape;10754;p1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55" name="Google Shape;10755;p1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6" name="Google Shape;10756;p1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7" name="Google Shape;10757;p1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58" name="Google Shape;10758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9" name="Google Shape;10759;p1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0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1" name="Google Shape;10761;p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62" name="Google Shape;10762;p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3" name="Google Shape;10763;p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64" name="Google Shape;10764;p7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5" name="Google Shape;10765;p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6" name="Google Shape;10766;p7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67" name="Google Shape;10767;p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8" name="Google Shape;10768;p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0" name="Google Shape;10770;p13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71" name="Google Shape;10771;p13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2" name="Google Shape;10772;p13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73" name="Google Shape;10773;p13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74" name="Google Shape;10774;p13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75" name="Google Shape;10775;p13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6" name="Google Shape;10776;p13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77" name="Google Shape;10777;p1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p1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80" name="Google Shape;10780;p1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1" name="Google Shape;10781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2" name="Google Shape;10782;p1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83" name="Google Shape;10783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84" name="Google Shape;10784;p1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p1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0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7" name="Google Shape;10787;p13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88" name="Google Shape;10788;p13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89" name="Google Shape;10789;p13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90" name="Google Shape;10790;p13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1" name="Google Shape;10791;p13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92" name="Google Shape;10792;p13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793" name="Google Shape;10793;p1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0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5" name="Google Shape;10795;p13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6" name="Google Shape;10796;p13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7" name="Google Shape;10797;p13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p1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p1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p1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1" name="Google Shape;10801;p1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2" name="Google Shape;10802;p1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3" name="Google Shape;10803;p1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04" name="Google Shape;10804;p1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05" name="Google Shape;10805;p1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06" name="Google Shape;10806;p138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0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8" name="Google Shape;10808;p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9" name="Google Shape;10809;p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0" name="Google Shape;10810;p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11" name="Google Shape;10811;p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12" name="Google Shape;10812;p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13" name="Google Shape;10813;p1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4" name="Google Shape;10814;p1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5" name="Google Shape;10815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6" name="Google Shape;10816;p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7" name="Google Shape;10817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0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9" name="Google Shape;10819;p1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0" name="Google Shape;10820;p1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21" name="Google Shape;108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2" name="Google Shape;108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3" name="Google Shape;108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24" name="Google Shape;108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25" name="Google Shape;108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26" name="Google Shape;10826;p1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7" name="Google Shape;10827;p1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8" name="Google Shape;10828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9" name="Google Shape;1082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0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1" name="Google Shape;10831;p9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32" name="Google Shape;10832;p9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33" name="Google Shape;10833;p9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4" name="Google Shape;10834;p9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35" name="Google Shape;10835;p9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36" name="Google Shape;10836;p9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7" name="Google Shape;10837;p9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38" name="Google Shape;10838;p9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9" name="Google Shape;10839;p9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40" name="Google Shape;10840;p9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1" name="Google Shape;10841;p9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42" name="Google Shape;10842;p9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3" name="Google Shape;10843;p9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0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5" name="Google Shape;10845;p9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46" name="Google Shape;10846;p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7" name="Google Shape;10847;p9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48" name="Google Shape;10848;p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49" name="Google Shape;10849;p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50" name="Google Shape;10850;p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1" name="Google Shape;10851;p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52" name="Google Shape;10852;p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53" name="Google Shape;10853;p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0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5" name="Google Shape;10855;p9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6" name="Google Shape;10856;p9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7" name="Google Shape;10857;p9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858" name="Google Shape;10858;p9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9" name="Google Shape;10859;p9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0" name="Google Shape;10860;p9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61" name="Google Shape;10861;p9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62" name="Google Shape;10862;p9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0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4" name="Google Shape;10864;p13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p1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p1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p13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68" name="Google Shape;10868;p1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p13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70" name="Google Shape;10870;p1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71" name="Google Shape;10871;p1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0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3" name="Google Shape;10873;p13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4" name="Google Shape;10874;p1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5" name="Google Shape;10875;p1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76" name="Google Shape;10876;p1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7" name="Google Shape;10877;p1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78" name="Google Shape;10878;p1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79" name="Google Shape;10879;p13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80" name="Google Shape;10880;p1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81" name="Google Shape;10881;p13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82" name="Google Shape;10882;p1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83" name="Google Shape;10883;p1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84" name="Google Shape;10884;p138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0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6" name="Google Shape;10886;p13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87" name="Google Shape;10887;p13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8" name="Google Shape;10888;p13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9" name="Google Shape;10889;p1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90" name="Google Shape;10890;p1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91" name="Google Shape;10891;p1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92" name="Google Shape;10892;p1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93" name="Google Shape;10893;p1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4" name="Google Shape;10894;p1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95" name="Google Shape;10895;p1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96" name="Google Shape;10896;p1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97" name="Google Shape;10897;p13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0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9" name="Google Shape;10899;p13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00" name="Google Shape;10900;p1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p1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p1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p1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p1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05" name="Google Shape;10905;p13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06" name="Google Shape;10906;p1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07" name="Google Shape;10907;p13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08" name="Google Shape;10908;p1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09" name="Google Shape;10909;p1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10" name="Google Shape;10910;p13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0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2" name="Google Shape;10912;p8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13" name="Google Shape;10913;p8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4" name="Google Shape;10914;p8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15" name="Google Shape;10915;p8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16" name="Google Shape;10916;p8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7" name="Google Shape;10917;p8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8" name="Google Shape;10918;p8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19" name="Google Shape;10919;p8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0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21" name="Google Shape;10921;p8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22" name="Google Shape;10922;p8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3" name="Google Shape;10923;p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4" name="Google Shape;10924;p8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25" name="Google Shape;10925;p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926" name="Google Shape;10926;p8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7" name="Google Shape;10927;p8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0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9" name="Google Shape;10929;p8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30" name="Google Shape;10930;p8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931" name="Google Shape;10931;p8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932" name="Google Shape;10932;p8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3" name="Google Shape;10933;p8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34" name="Google Shape;10934;p8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935" name="Google Shape;10935;p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0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7" name="Google Shape;10937;p13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38" name="Google Shape;10938;p13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9" name="Google Shape;10939;p13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0" name="Google Shape;10940;p1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1" name="Google Shape;10941;p1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2" name="Google Shape;10942;p1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43" name="Google Shape;10943;p1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44" name="Google Shape;10944;p1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45" name="Google Shape;10945;p1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46" name="Google Shape;10946;p1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47" name="Google Shape;10947;p1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48" name="Google Shape;10948;p138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0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0" name="Google Shape;10950;p13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51" name="Google Shape;10951;p13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2" name="Google Shape;10952;p13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53" name="Google Shape;10953;p1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4" name="Google Shape;10954;p1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5" name="Google Shape;10955;p1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6" name="Google Shape;10956;p1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57" name="Google Shape;10957;p1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8" name="Google Shape;10958;p1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59" name="Google Shape;10959;p1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0" name="Google Shape;10960;p1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61" name="Google Shape;10961;p13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0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63" name="Google Shape;10963;p8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64" name="Google Shape;10964;p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65" name="Google Shape;10965;p8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66" name="Google Shape;10966;p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7" name="Google Shape;10967;p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68" name="Google Shape;10968;p8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9" name="Google Shape;10969;p8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0" name="Google Shape;10970;p8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71" name="Google Shape;10971;p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72" name="Google Shape;10972;p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4" name="Google Shape;10974;p8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5" name="Google Shape;10975;p8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76" name="Google Shape;10976;p8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7" name="Google Shape;10977;p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78" name="Google Shape;10978;p8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79" name="Google Shape;10979;p8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80" name="Google Shape;10980;p8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81" name="Google Shape;10981;p8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2" name="Google Shape;10982;p8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83" name="Google Shape;10983;p8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84" name="Google Shape;10984;p8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0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86" name="Google Shape;10986;p8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87" name="Google Shape;10987;p8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8" name="Google Shape;10988;p8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89" name="Google Shape;10989;p8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90" name="Google Shape;10990;p8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91" name="Google Shape;10991;p8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2" name="Google Shape;10992;p8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3" name="Google Shape;10993;p8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4" name="Google Shape;10994;p8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5" name="Google Shape;10995;p8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6" name="Google Shape;10996;p8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97" name="Google Shape;10997;p8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98" name="Google Shape;10998;p8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0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0" name="Google Shape;11000;p8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01" name="Google Shape;11001;p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02" name="Google Shape;11002;p8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03" name="Google Shape;11003;p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04" name="Google Shape;11004;p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05" name="Google Shape;11005;p8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p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07" name="Google Shape;11007;p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08" name="Google Shape;11008;p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1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0" name="Google Shape;11010;p8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011" name="Google Shape;11011;p8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2" name="Google Shape;11012;p8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13" name="Google Shape;11013;p8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14" name="Google Shape;11014;p8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5" name="Google Shape;11015;p8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016" name="Google Shape;11016;p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017" name="Google Shape;11017;p8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9" name="Google Shape;11019;p8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0" name="Google Shape;11020;p8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1" name="Google Shape;11021;p8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22" name="Google Shape;11022;p8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23" name="Google Shape;11023;p8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4" name="Google Shape;11024;p8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25" name="Google Shape;11025;p8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6" name="Google Shape;11026;p8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" name="Google Shape;11028;p13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29" name="Google Shape;11029;p13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0" name="Google Shape;11030;p13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31" name="Google Shape;11031;p13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32" name="Google Shape;11032;p13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33" name="Google Shape;11033;p13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4" name="Google Shape;11034;p13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35" name="Google Shape;11035;p1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37" name="Google Shape;11037;p13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38" name="Google Shape;11038;p13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9" name="Google Shape;11039;p13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0" name="Google Shape;11040;p13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41" name="Google Shape;11041;p1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42" name="Google Shape;11042;p13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3" name="Google Shape;11043;p13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p91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6" name="Google Shape;11046;p91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47" name="Google Shape;11047;p91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8" name="Google Shape;11048;p91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9" name="Google Shape;11049;p91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50" name="Google Shape;11050;p91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51" name="Google Shape;11051;p9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3" name="Google Shape;11053;p13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54" name="Google Shape;11054;p13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55" name="Google Shape;11055;p13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56" name="Google Shape;11056;p1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57" name="Google Shape;11057;p1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58" name="Google Shape;11058;p1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9" name="Google Shape;11059;p1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0" name="Google Shape;11060;p1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1" name="Google Shape;11061;p1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2" name="Google Shape;11062;p1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3" name="Google Shape;11063;p1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064" name="Google Shape;11064;p13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66" name="Google Shape;11066;p13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7" name="Google Shape;11067;p1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8" name="Google Shape;11068;p13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9" name="Google Shape;11069;p13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0" name="Google Shape;11070;p13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71" name="Google Shape;11071;p13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p13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p13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p13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p13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7" name="Google Shape;11077;p13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8" name="Google Shape;11078;p13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79" name="Google Shape;11079;p13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0" name="Google Shape;11080;p1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1" name="Google Shape;11081;p13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82" name="Google Shape;11082;p13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3" name="Google Shape;11083;p13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84" name="Google Shape;11084;p13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5" name="Google Shape;11085;p13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86" name="Google Shape;11086;p13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87" name="Google Shape;11087;p13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9" name="Google Shape;11089;p13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90" name="Google Shape;11090;p1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1" name="Google Shape;11091;p13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92" name="Google Shape;11092;p1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3" name="Google Shape;11093;p1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94" name="Google Shape;11094;p13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p13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6" name="Google Shape;11096;p13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7" name="Google Shape;11097;p13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8" name="Google Shape;11098;p13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9" name="Google Shape;11099;p13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0" name="Google Shape;11100;p1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1" name="Google Shape;11101;p1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3" name="Google Shape;11103;p13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04" name="Google Shape;11104;p1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5" name="Google Shape;11105;p13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6" name="Google Shape;11106;p1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7" name="Google Shape;11107;p1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108" name="Google Shape;11108;p1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09" name="Google Shape;11109;p13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0" name="Google Shape;11110;p1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1" name="Google Shape;11111;p1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3" name="Google Shape;11113;p13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14" name="Google Shape;11114;p13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5" name="Google Shape;11115;p13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116" name="Google Shape;11116;p13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17" name="Google Shape;11117;p13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8" name="Google Shape;11118;p13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19" name="Google Shape;11119;p1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20" name="Google Shape;11120;p1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2" name="Google Shape;11122;p1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3" name="Google Shape;11123;p1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4" name="Google Shape;11124;p1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25" name="Google Shape;11125;p1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26" name="Google Shape;11126;p1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7" name="Google Shape;11127;p1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28" name="Google Shape;11128;p1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9" name="Google Shape;11129;p1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1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1" name="Google Shape;11131;p1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2" name="Google Shape;11132;p1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3" name="Google Shape;11133;p1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4" name="Google Shape;11134;p1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35" name="Google Shape;11135;p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6" name="Google Shape;11136;p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37" name="Google Shape;11137;p1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38" name="Google Shape;11138;p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39" name="Google Shape;11139;p1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40" name="Google Shape;11140;p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1" name="Google Shape;11141;p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42" name="Google Shape;11142;p11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1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4" name="Google Shape;11144;p77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5" name="Google Shape;11145;p770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6" name="Google Shape;11146;p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147" name="Google Shape;11147;p770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8" name="Google Shape;11148;p7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149" name="Google Shape;11149;p770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0" name="Google Shape;11150;p770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1" name="Google Shape;11151;p770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2" name="Google Shape;11152;p7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3" name="Google Shape;11153;p7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54" name="Google Shape;11154;p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6" name="Google Shape;11156;p13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7" name="Google Shape;11157;p13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8" name="Google Shape;11158;p13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9" name="Google Shape;11159;p1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60" name="Google Shape;11160;p1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1" name="Google Shape;11161;p1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62" name="Google Shape;11162;p1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63" name="Google Shape;11163;p1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4" name="Google Shape;11164;p1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65" name="Google Shape;11165;p1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66" name="Google Shape;11166;p1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67" name="Google Shape;11167;p139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1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9" name="Google Shape;11169;p14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0" name="Google Shape;11170;p1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1" name="Google Shape;11171;p1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2" name="Google Shape;11172;p1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3" name="Google Shape;11173;p1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4" name="Google Shape;11174;p1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5" name="Google Shape;11175;p1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76" name="Google Shape;11176;p1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77" name="Google Shape;11177;p1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8" name="Google Shape;11178;p1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79" name="Google Shape;11179;p1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80" name="Google Shape;11180;p14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2" name="Google Shape;11182;p33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3" name="Google Shape;11183;p33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84" name="Google Shape;11184;p3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85" name="Google Shape;11185;p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6" name="Google Shape;11186;p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1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8" name="Google Shape;11188;p27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89" name="Google Shape;11189;p27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0" name="Google Shape;11190;p2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91" name="Google Shape;11191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193" name="Google Shape;11193;p27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4" name="Google Shape;11194;p27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5" name="Google Shape;11195;p27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196" name="Google Shape;11196;p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8" name="Google Shape;11198;p3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9" name="Google Shape;11199;p3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0" name="Google Shape;11200;p3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01" name="Google Shape;11201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2" name="Google Shape;11202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03" name="Google Shape;11203;p3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4" name="Google Shape;11204;p3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5" name="Google Shape;11205;p3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06" name="Google Shape;11206;p3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8" name="Google Shape;11208;p3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9" name="Google Shape;11209;p3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0" name="Google Shape;11210;p3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1" name="Google Shape;11211;p3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12" name="Google Shape;11212;p3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4" name="Google Shape;11214;p3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15" name="Google Shape;11215;p3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16" name="Google Shape;11216;p3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7" name="Google Shape;11217;p3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8" name="Google Shape;11218;p3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0" name="Google Shape;11220;p3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1" name="Google Shape;11221;p3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2" name="Google Shape;11222;p3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3" name="Google Shape;11223;p3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4" name="Google Shape;11224;p3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25" name="Google Shape;11225;p3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1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7" name="Google Shape;11227;p3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8" name="Google Shape;11228;p3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p3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30" name="Google Shape;11230;p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1" name="Google Shape;11231;p3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32" name="Google Shape;11232;p3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3" name="Google Shape;11233;p3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4" name="Google Shape;11234;p3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35" name="Google Shape;11235;p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7" name="Google Shape;11237;p3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8" name="Google Shape;11238;p3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9" name="Google Shape;11239;p3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0" name="Google Shape;11240;p3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41" name="Google Shape;11241;p3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3" name="Google Shape;11243;p3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44" name="Google Shape;11244;p3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45" name="Google Shape;11245;p3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6" name="Google Shape;11246;p3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7" name="Google Shape;11247;p3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9" name="Google Shape;11249;p3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0" name="Google Shape;11250;p3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1" name="Google Shape;11251;p3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2" name="Google Shape;11252;p3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3" name="Google Shape;11253;p3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54" name="Google Shape;11254;p3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6" name="Google Shape;11256;p14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7" name="Google Shape;11257;p14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p14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59" name="Google Shape;11259;p1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p1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61" name="Google Shape;11261;p14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2" name="Google Shape;11262;p14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3" name="Google Shape;11263;p14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64" name="Google Shape;11264;p1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Google Shape;11266;p14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7" name="Google Shape;11267;p14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8" name="Google Shape;11268;p14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69" name="Google Shape;11269;p1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0" name="Google Shape;11270;p1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71" name="Google Shape;11271;p140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2" name="Google Shape;11272;p140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3" name="Google Shape;11273;p14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74" name="Google Shape;11274;p1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p14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77" name="Google Shape;11277;p14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8" name="Google Shape;11278;p14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79" name="Google Shape;11279;p14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0" name="Google Shape;11280;p14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81" name="Google Shape;11281;p14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2" name="Google Shape;11282;p14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3" name="Google Shape;11283;p14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84" name="Google Shape;11284;p1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6" name="Google Shape;11286;p140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7" name="Google Shape;11287;p140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8" name="Google Shape;11288;p140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9" name="Google Shape;11289;p140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90" name="Google Shape;11290;p14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2" name="Google Shape;11292;p140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93" name="Google Shape;11293;p1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94" name="Google Shape;11294;p140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5" name="Google Shape;11295;p140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6" name="Google Shape;11296;p140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8" name="Google Shape;11298;p140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9" name="Google Shape;11299;p140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00" name="Google Shape;11300;p140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1" name="Google Shape;11301;p140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2" name="Google Shape;11302;p140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03" name="Google Shape;11303;p1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5" name="Google Shape;11305;p14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6" name="Google Shape;11306;p14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7" name="Google Shape;11307;p14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08" name="Google Shape;11308;p1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9" name="Google Shape;11309;p1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10" name="Google Shape;11310;p14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1" name="Google Shape;11311;p14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2" name="Google Shape;11312;p14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3" name="Google Shape;11313;p14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5" name="Google Shape;11315;p140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16" name="Google Shape;11316;p14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7" name="Google Shape;11317;p14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8" name="Google Shape;11318;p140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9" name="Google Shape;11319;p14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p14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22" name="Google Shape;11322;p14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23" name="Google Shape;11323;p14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4" name="Google Shape;11324;p140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25" name="Google Shape;11325;p140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7" name="Google Shape;11327;p141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8" name="Google Shape;11328;p141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9" name="Google Shape;11329;p141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0" name="Google Shape;11330;p141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1" name="Google Shape;11331;p141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32" name="Google Shape;11332;p14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4" name="Google Shape;11334;p9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5" name="Google Shape;11335;p9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6" name="Google Shape;11336;p9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37" name="Google Shape;11337;p9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8" name="Google Shape;11338;p9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39" name="Google Shape;11339;p9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0" name="Google Shape;11340;p9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1" name="Google Shape;11341;p9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2" name="Google Shape;11342;p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4" name="Google Shape;11344;p141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p141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6" name="Google Shape;11346;p141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7" name="Google Shape;11347;p141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8" name="Google Shape;11348;p1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0" name="Google Shape;11350;p141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51" name="Google Shape;11351;p1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52" name="Google Shape;11352;p141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3" name="Google Shape;11353;p141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4" name="Google Shape;11354;p141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1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6" name="Google Shape;11356;p141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7" name="Google Shape;11357;p141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8" name="Google Shape;11358;p141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9" name="Google Shape;11359;p141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0" name="Google Shape;11360;p141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61" name="Google Shape;11361;p14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3" name="Google Shape;11363;p87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4" name="Google Shape;11364;p87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5" name="Google Shape;11365;p87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6" name="Google Shape;11366;p87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67" name="Google Shape;11367;p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9" name="Google Shape;11369;p8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70" name="Google Shape;11370;p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71" name="Google Shape;11371;p8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2" name="Google Shape;11372;p87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3" name="Google Shape;11373;p87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5" name="Google Shape;11375;p8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6" name="Google Shape;11376;p8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7" name="Google Shape;11377;p88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8" name="Google Shape;11378;p88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9" name="Google Shape;11379;p88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80" name="Google Shape;11380;p8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2" name="Google Shape;11382;p103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3" name="Google Shape;11383;p10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4" name="Google Shape;11384;p10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5" name="Google Shape;11385;p103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86" name="Google Shape;11386;p10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8" name="Google Shape;11388;p10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89" name="Google Shape;11389;p1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90" name="Google Shape;11390;p10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1" name="Google Shape;11391;p10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2" name="Google Shape;11392;p10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4" name="Google Shape;11394;p3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5" name="Google Shape;11395;p3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6" name="Google Shape;11396;p3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7" name="Google Shape;11397;p3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8" name="Google Shape;11398;p3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99" name="Google Shape;11399;p3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1" name="Google Shape;11401;p10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2" name="Google Shape;11402;p10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3" name="Google Shape;11403;p10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04" name="Google Shape;11404;p10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05" name="Google Shape;11405;p10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06" name="Google Shape;11406;p10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7" name="Google Shape;11407;p10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08" name="Google Shape;11408;p10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10" name="Google Shape;11410;p10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11" name="Google Shape;11411;p10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2" name="Google Shape;11412;p10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3" name="Google Shape;11413;p10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14" name="Google Shape;11414;p1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15" name="Google Shape;11415;p10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6" name="Google Shape;11416;p10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1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8" name="Google Shape;11418;p80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19" name="Google Shape;11419;p80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20" name="Google Shape;11420;p80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21" name="Google Shape;11421;p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2" name="Google Shape;11422;p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23" name="Google Shape;11423;p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24" name="Google Shape;11424;p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6" name="Google Shape;11426;p1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27" name="Google Shape;11427;p1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8" name="Google Shape;11428;p1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9" name="Google Shape;11429;p1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30" name="Google Shape;11430;p1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31" name="Google Shape;11431;p1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2" name="Google Shape;11432;p1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33" name="Google Shape;11433;p1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4" name="Google Shape;11434;p1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5" name="Google Shape;11435;p1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36" name="Google Shape;11436;p1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437" name="Google Shape;11437;p14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9" name="Google Shape;11439;p10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40" name="Google Shape;11440;p10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41" name="Google Shape;11441;p10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42" name="Google Shape;11442;p10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43" name="Google Shape;11443;p10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44" name="Google Shape;11444;p10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5" name="Google Shape;11445;p10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6" name="Google Shape;11446;p1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7" name="Google Shape;11447;p10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8" name="Google Shape;11448;p1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0" name="Google Shape;11450;p8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51" name="Google Shape;11451;p8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2" name="Google Shape;11452;p8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53" name="Google Shape;11453;p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4" name="Google Shape;11454;p8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55" name="Google Shape;11455;p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56" name="Google Shape;11456;p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57" name="Google Shape;11457;p8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8" name="Google Shape;11458;p8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9" name="Google Shape;11459;p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60" name="Google Shape;11460;p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2" name="Google Shape;11462;p10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63" name="Google Shape;11463;p1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4" name="Google Shape;11464;p10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65" name="Google Shape;11465;p10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66" name="Google Shape;11466;p10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67" name="Google Shape;11467;p10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8" name="Google Shape;11468;p102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p102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p10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71" name="Google Shape;11471;p10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2" name="Google Shape;11472;p10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3" name="Google Shape;11473;p10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4" name="Google Shape;11474;p10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1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6" name="Google Shape;11476;p10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7" name="Google Shape;11477;p10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8" name="Google Shape;11478;p10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79" name="Google Shape;11479;p10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80" name="Google Shape;11480;p10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81" name="Google Shape;11481;p10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2" name="Google Shape;11482;p10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3" name="Google Shape;11483;p10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4" name="Google Shape;11484;p10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1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6" name="Google Shape;11486;p10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7" name="Google Shape;11487;p10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8" name="Google Shape;11488;p10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89" name="Google Shape;11489;p103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90" name="Google Shape;11490;p103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91" name="Google Shape;11491;p10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2" name="Google Shape;11492;p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3" name="Google Shape;11493;p10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5" name="Google Shape;11495;p10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6" name="Google Shape;11496;p10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7" name="Google Shape;11497;p10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8" name="Google Shape;11498;p10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99" name="Google Shape;11499;p10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0" name="Google Shape;11500;p10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1" name="Google Shape;11501;p10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02" name="Google Shape;11502;p10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4" name="Google Shape;11504;p14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5" name="Google Shape;11505;p1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6" name="Google Shape;11506;p1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07" name="Google Shape;11507;p1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08" name="Google Shape;11508;p1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09" name="Google Shape;11509;p1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0" name="Google Shape;11510;p1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1" name="Google Shape;11511;p1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1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3" name="Google Shape;11513;p14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14" name="Google Shape;11514;p14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5" name="Google Shape;11515;p14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6" name="Google Shape;11516;p14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7" name="Google Shape;11517;p1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18" name="Google Shape;11518;p14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9" name="Google Shape;11519;p14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11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1" name="Google Shape;11521;p14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22" name="Google Shape;11522;p14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23" name="Google Shape;11523;p14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24" name="Google Shape;11524;p14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5" name="Google Shape;11525;p14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26" name="Google Shape;11526;p14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27" name="Google Shape;11527;p1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9" name="Google Shape;11529;p14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0" name="Google Shape;11530;p14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1" name="Google Shape;11531;p14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2" name="Google Shape;11532;p1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3" name="Google Shape;11533;p1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4" name="Google Shape;11534;p1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5" name="Google Shape;11535;p1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36" name="Google Shape;11536;p1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7" name="Google Shape;11537;p1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38" name="Google Shape;11538;p1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39" name="Google Shape;11539;p1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540" name="Google Shape;11540;p14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42" name="Google Shape;11542;p1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3" name="Google Shape;11543;p1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4" name="Google Shape;11544;p1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5" name="Google Shape;11545;p1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46" name="Google Shape;11546;p1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47" name="Google Shape;11547;p14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8" name="Google Shape;11548;p14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9" name="Google Shape;11549;p1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0" name="Google Shape;11550;p1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51" name="Google Shape;11551;p1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11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3" name="Google Shape;11553;p14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4" name="Google Shape;11554;p14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55" name="Google Shape;11555;p14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56" name="Google Shape;11556;p1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7" name="Google Shape;11557;p14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58" name="Google Shape;11558;p14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59" name="Google Shape;11559;p14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60" name="Google Shape;11560;p142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61" name="Google Shape;11561;p142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62" name="Google Shape;11562;p14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3" name="Google Shape;11563;p14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1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5" name="Google Shape;11565;p1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66" name="Google Shape;11566;p1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67" name="Google Shape;11567;p1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8" name="Google Shape;11568;p1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69" name="Google Shape;11569;p1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70" name="Google Shape;11570;p1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71" name="Google Shape;11571;p1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2" name="Google Shape;11572;p1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3" name="Google Shape;11573;p1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4" name="Google Shape;11574;p1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5" name="Google Shape;11575;p1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76" name="Google Shape;11576;p1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77" name="Google Shape;11577;p1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9" name="Google Shape;11579;p1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80" name="Google Shape;11580;p1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1" name="Google Shape;11581;p1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82" name="Google Shape;11582;p1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83" name="Google Shape;11583;p1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84" name="Google Shape;11584;p14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5" name="Google Shape;11585;p1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6" name="Google Shape;11586;p1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7" name="Google Shape;11587;p1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11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89" name="Google Shape;11589;p14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590" name="Google Shape;11590;p14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1" name="Google Shape;11591;p14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92" name="Google Shape;11592;p142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93" name="Google Shape;11593;p142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4" name="Google Shape;11594;p14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95" name="Google Shape;11595;p14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596" name="Google Shape;11596;p14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8" name="Google Shape;11598;p1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99" name="Google Shape;11599;p1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0" name="Google Shape;11600;p1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01" name="Google Shape;11601;p1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02" name="Google Shape;11602;p1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3" name="Google Shape;11603;p1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04" name="Google Shape;11604;p1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05" name="Google Shape;11605;p1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7" name="Google Shape;11607;p28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608" name="Google Shape;11608;p2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09" name="Google Shape;11609;p28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610" name="Google Shape;11610;p28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11" name="Google Shape;11611;p284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612" name="Google Shape;11612;p28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3" name="Google Shape;11613;p28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4" name="Google Shape;11614;p28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5" name="Google Shape;11615;p28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1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7" name="Google Shape;11617;p28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18" name="Google Shape;11618;p28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9" name="Google Shape;11619;p28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0" name="Google Shape;11620;p28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1" name="Google Shape;116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622" name="Google Shape;11622;p28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4" name="Google Shape;11624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5" name="Google Shape;11625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6" name="Google Shape;11626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27" name="Google Shape;11627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8" name="Google Shape;11628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9" name="Google Shape;11629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0" name="Google Shape;11630;p4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31" name="Google Shape;11631;p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2" name="Google Shape;11632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3" name="Google Shape;11633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5" name="Google Shape;11635;p4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36" name="Google Shape;11636;p4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37" name="Google Shape;11637;p4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38" name="Google Shape;11638;p4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39" name="Google Shape;11639;p4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0" name="Google Shape;11640;p4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41" name="Google Shape;11641;p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2">
    <p:spTree>
      <p:nvGrpSpPr>
        <p:cNvPr id="1" name="Shape 1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43" name="Google Shape;11643;p1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4" name="Google Shape;11644;p1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45" name="Google Shape;11645;p1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6" name="Google Shape;11646;p1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7" name="Google Shape;11647;p1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48" name="Google Shape;11648;p14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9" name="Google Shape;11649;p14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50" name="Google Shape;11650;p1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51" name="Google Shape;11651;p1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2" name="Google Shape;11652;p1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1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4" name="Google Shape;11654;p142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55" name="Google Shape;11655;p142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56" name="Google Shape;11656;p142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57" name="Google Shape;11657;p14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58" name="Google Shape;11658;p14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59" name="Google Shape;11659;p14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60" name="Google Shape;11660;p1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1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2" name="Google Shape;11662;p1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63" name="Google Shape;11663;p14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1664" name="Google Shape;11664;p1427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5" name="Google Shape;11665;p142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3">
    <p:spTree>
      <p:nvGrpSpPr>
        <p:cNvPr id="1" name="Shape 1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7" name="Google Shape;11667;p14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1668" name="Google Shape;11668;p1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69" name="Google Shape;11669;p1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0" name="Google Shape;11670;p1428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1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2" name="Google Shape;11672;p14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1673" name="Google Shape;11673;p142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4" name="Google Shape;11674;p1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5" name="Google Shape;11675;p142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1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7" name="Google Shape;11677;p1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78" name="Google Shape;11678;p14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1679" name="Google Shape;11679;p1430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0" name="Google Shape;11680;p1430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2" name="Google Shape;11682;p1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3" name="Google Shape;11683;p14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p1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85" name="Google Shape;11685;p14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7" name="Google Shape;11687;p1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8" name="Google Shape;11688;p14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9" name="Google Shape;11689;p14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0" name="Google Shape;11690;p14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92" name="Google Shape;11692;p1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93" name="Google Shape;11693;p1433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95" name="Google Shape;11695;p14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6" name="Google Shape;11696;p14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7" name="Google Shape;11697;p14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98" name="Google Shape;11698;p14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9" name="Google Shape;11699;p14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00" name="Google Shape;11700;p14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1" name="Google Shape;11701;p14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2" name="Google Shape;11702;p14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3" name="Google Shape;11703;p1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11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5" name="Google Shape;11705;p14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6" name="Google Shape;11706;p14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7" name="Google Shape;11707;p14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8" name="Google Shape;11708;p14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9" name="Google Shape;11709;p1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11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1" name="Google Shape;11711;p4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12" name="Google Shape;11712;p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713" name="Google Shape;11713;p4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4" name="Google Shape;11714;p40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5" name="Google Shape;11715;p40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11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7" name="Google Shape;11717;p40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8" name="Google Shape;11718;p40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9" name="Google Shape;11719;p40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0" name="Google Shape;11720;p40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1" name="Google Shape;11721;p40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22" name="Google Shape;11722;p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4" name="Google Shape;11724;p35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25" name="Google Shape;11725;p35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6" name="Google Shape;11726;p35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7" name="Google Shape;11727;p35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p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29" name="Google Shape;11729;p35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1" name="Google Shape;11731;p143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2" name="Google Shape;11732;p143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1733" name="Google Shape;11733;p14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34" name="Google Shape;11734;p1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5" name="Google Shape;11735;p14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7" name="Google Shape;11737;p143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p143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739" name="Google Shape;11739;p143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740" name="Google Shape;11740;p1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41" name="Google Shape;11741;p1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2" name="Google Shape;11742;p1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4" name="Google Shape;11744;p143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45" name="Google Shape;11745;p143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6" name="Google Shape;11746;p143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p143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8" name="Google Shape;11748;p143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9" name="Google Shape;11749;p143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50" name="Google Shape;11750;p143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1" name="Google Shape;11751;p143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52" name="Google Shape;11752;p1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1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54" name="Google Shape;11754;p14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55" name="Google Shape;11755;p14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p14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57" name="Google Shape;11757;p14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p14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9" name="Google Shape;11759;p14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0" name="Google Shape;11760;p14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1" name="Google Shape;11761;p1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2" name="Google Shape;11762;p14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3" name="Google Shape;11763;p1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1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5" name="Google Shape;11765;p14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66" name="Google Shape;11766;p14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67" name="Google Shape;11767;p14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768" name="Google Shape;11768;p14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69" name="Google Shape;11769;p14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70" name="Google Shape;11770;p14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771" name="Google Shape;11771;p1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3" name="Google Shape;11773;p14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4" name="Google Shape;11774;p14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5" name="Google Shape;11775;p1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76" name="Google Shape;11776;p1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77" name="Google Shape;11777;p1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78" name="Google Shape;11778;p1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79" name="Google Shape;11779;p14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0" name="Google Shape;11780;p1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81" name="Google Shape;11781;p14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82" name="Google Shape;11782;p1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83" name="Google Shape;11783;p1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784" name="Google Shape;11784;p14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1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" name="Google Shape;11786;p14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87" name="Google Shape;11787;p14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88" name="Google Shape;11788;p14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9" name="Google Shape;11789;p14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0" name="Google Shape;11790;p14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1" name="Google Shape;11791;p14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92" name="Google Shape;11792;p14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93" name="Google Shape;11793;p14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94" name="Google Shape;11794;p1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1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" name="Google Shape;11796;p144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7" name="Google Shape;11797;p144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8" name="Google Shape;11798;p144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9" name="Google Shape;11799;p144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800" name="Google Shape;11800;p144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1" name="Google Shape;11801;p144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802" name="Google Shape;11802;p144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3" name="Google Shape;11803;p144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804" name="Google Shape;11804;p1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11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6" name="Google Shape;11806;p14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7" name="Google Shape;11807;p14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8" name="Google Shape;11808;p14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9" name="Google Shape;11809;p14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0" name="Google Shape;11810;p1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11" name="Google Shape;11811;p1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12" name="Google Shape;11812;p14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13" name="Google Shape;11813;p1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14" name="Google Shape;11814;p14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5" name="Google Shape;11815;p1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16" name="Google Shape;11816;p1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17" name="Google Shape;11817;p14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11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9" name="Google Shape;11819;p14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0" name="Google Shape;11820;p14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1" name="Google Shape;11821;p14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2" name="Google Shape;11822;p14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23" name="Google Shape;11823;p14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4" name="Google Shape;11824;p14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25" name="Google Shape;11825;p14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26" name="Google Shape;11826;p14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27" name="Google Shape;11827;p14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28" name="Google Shape;11828;p14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29" name="Google Shape;11829;p14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30" name="Google Shape;11830;p14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1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2" name="Google Shape;11832;p9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3" name="Google Shape;11833;p9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4" name="Google Shape;11834;p9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5" name="Google Shape;11835;p9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6" name="Google Shape;11836;p9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7" name="Google Shape;11837;p9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8" name="Google Shape;11838;p9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39" name="Google Shape;11839;p9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40" name="Google Shape;11840;p9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41" name="Google Shape;11841;p9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42" name="Google Shape;11842;p9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43" name="Google Shape;11843;p9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p14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6" name="Google Shape;11846;p14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7" name="Google Shape;11847;p14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8" name="Google Shape;11848;p14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9" name="Google Shape;11849;p14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0" name="Google Shape;11850;p14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51" name="Google Shape;11851;p14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2" name="Google Shape;11852;p14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3" name="Google Shape;11853;p14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54" name="Google Shape;11854;p14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55" name="Google Shape;11855;p14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56" name="Google Shape;11856;p144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p14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59" name="Google Shape;11859;p14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p14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1" name="Google Shape;11861;p1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62" name="Google Shape;11862;p1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63" name="Google Shape;11863;p1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64" name="Google Shape;11864;p14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65" name="Google Shape;11865;p1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6" name="Google Shape;11866;p14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7" name="Google Shape;11867;p1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68" name="Google Shape;11868;p1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69" name="Google Shape;11869;p14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69075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73633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946389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272769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6471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7915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6322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4324774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76438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6634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61694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9775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3/13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3/13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8314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232593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981547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47993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629670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922304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543231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9056666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196769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6446465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7985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8675539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3/13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3/13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355230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028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8946972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56256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92248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82310128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08569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167137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5139145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8854864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29171363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07334156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209137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7035085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496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7071657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8929532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448306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057869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23139081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66232222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4406467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9978588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384010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92845063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19848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1291055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053221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53403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183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047651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36495163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15131380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78603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38823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69298813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152595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2229976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8098064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48311660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22189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36615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27351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2830848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21837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8412230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6299632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5572347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218264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6197295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3719658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1878272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511572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92032075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54042073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263371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51266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05884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72995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89640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8815627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8444929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1298652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489980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90118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511046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985863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8896833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614351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3466673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5389313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995057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178654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0505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4416384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94506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34756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44249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089770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4726885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30899934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5951717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18246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901268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2162936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478061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635205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753400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218930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7758517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030568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4402013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606241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629825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035257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789458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115823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61310319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823139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7204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3406442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354904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38337174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670045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23299833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0180821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716835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454202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621166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19921863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1481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7243743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985885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0458373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8324535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5577980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87908400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415214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3436724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984771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9899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428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909449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681620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949904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827487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86819339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449856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405373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66657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99812491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645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420861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411256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25013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91692375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48130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26724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542397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70238652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290756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1164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46871630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84428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9616685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67324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493174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897139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98437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3664240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8438635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861284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971442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63513863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7080957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675381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4510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153868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86313547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777020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1509372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68277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561225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573609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790659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0382973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05157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830928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070657066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484904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4277896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6746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172203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0618233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417624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27507954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45900492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98240338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80802527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815820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2077277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447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315998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6876617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636113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427986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880625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042268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55426536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21859085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3942270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21302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94051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2040150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73987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305042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1805457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8002226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21445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47358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3860268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928944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4643257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1216643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854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4237754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472681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" name="Google Shape;25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" name="Google Shape;26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" name="Google Shape;27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" name="Google Shape;28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" name="Google Shape;29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" name="Google Shape;30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31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oogle Shape;33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Google Shape;34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" name="Google Shape;35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Google Shape;36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" name="Google Shape;37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" name="Google Shape;38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" name="Google Shape;41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" name="Google Shape;42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" name="Google Shape;4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" name="Google Shape;4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" name="Google Shape;4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" name="Google Shape;79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" name="Google Shape;80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" name="Google Shape;8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" name="Google Shape;84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" name="Google Shape;85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" name="Google Shape;87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" name="Google Shape;90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" name="Google Shape;9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9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" name="Google Shape;9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8" name="Google Shape;9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8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1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671" Type="http://schemas.openxmlformats.org/officeDocument/2006/relationships/slideLayout" Target="../slideLayouts/slideLayout671.xml"/><Relationship Id="rId21" Type="http://schemas.openxmlformats.org/officeDocument/2006/relationships/slideLayout" Target="../slideLayouts/slideLayout21.xml"/><Relationship Id="rId324" Type="http://schemas.openxmlformats.org/officeDocument/2006/relationships/slideLayout" Target="../slideLayouts/slideLayout324.xml"/><Relationship Id="rId531" Type="http://schemas.openxmlformats.org/officeDocument/2006/relationships/slideLayout" Target="../slideLayouts/slideLayout531.xml"/><Relationship Id="rId629" Type="http://schemas.openxmlformats.org/officeDocument/2006/relationships/slideLayout" Target="../slideLayouts/slideLayout629.xml"/><Relationship Id="rId170" Type="http://schemas.openxmlformats.org/officeDocument/2006/relationships/slideLayout" Target="../slideLayouts/slideLayout170.xml"/><Relationship Id="rId268" Type="http://schemas.openxmlformats.org/officeDocument/2006/relationships/slideLayout" Target="../slideLayouts/slideLayout268.xml"/><Relationship Id="rId475" Type="http://schemas.openxmlformats.org/officeDocument/2006/relationships/slideLayout" Target="../slideLayouts/slideLayout475.xml"/><Relationship Id="rId682" Type="http://schemas.openxmlformats.org/officeDocument/2006/relationships/slideLayout" Target="../slideLayouts/slideLayout682.xml"/><Relationship Id="rId32" Type="http://schemas.openxmlformats.org/officeDocument/2006/relationships/slideLayout" Target="../slideLayouts/slideLayout32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542" Type="http://schemas.openxmlformats.org/officeDocument/2006/relationships/slideLayout" Target="../slideLayouts/slideLayout542.xml"/><Relationship Id="rId181" Type="http://schemas.openxmlformats.org/officeDocument/2006/relationships/slideLayout" Target="../slideLayouts/slideLayout181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86" Type="http://schemas.openxmlformats.org/officeDocument/2006/relationships/slideLayout" Target="../slideLayouts/slideLayout486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346" Type="http://schemas.openxmlformats.org/officeDocument/2006/relationships/slideLayout" Target="../slideLayouts/slideLayout346.xml"/><Relationship Id="rId553" Type="http://schemas.openxmlformats.org/officeDocument/2006/relationships/slideLayout" Target="../slideLayouts/slideLayout553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497" Type="http://schemas.openxmlformats.org/officeDocument/2006/relationships/slideLayout" Target="../slideLayouts/slideLayout497.xml"/><Relationship Id="rId620" Type="http://schemas.openxmlformats.org/officeDocument/2006/relationships/slideLayout" Target="../slideLayouts/slideLayout620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217" Type="http://schemas.openxmlformats.org/officeDocument/2006/relationships/slideLayout" Target="../slideLayouts/slideLayout217.xml"/><Relationship Id="rId564" Type="http://schemas.openxmlformats.org/officeDocument/2006/relationships/slideLayout" Target="../slideLayouts/slideLayout564.xml"/><Relationship Id="rId424" Type="http://schemas.openxmlformats.org/officeDocument/2006/relationships/slideLayout" Target="../slideLayouts/slideLayout424.xml"/><Relationship Id="rId631" Type="http://schemas.openxmlformats.org/officeDocument/2006/relationships/slideLayout" Target="../slideLayouts/slideLayout631.xml"/><Relationship Id="rId270" Type="http://schemas.openxmlformats.org/officeDocument/2006/relationships/slideLayout" Target="../slideLayouts/slideLayout270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575" Type="http://schemas.openxmlformats.org/officeDocument/2006/relationships/slideLayout" Target="../slideLayouts/slideLayout575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642" Type="http://schemas.openxmlformats.org/officeDocument/2006/relationships/slideLayout" Target="../slideLayouts/slideLayout642.xml"/><Relationship Id="rId281" Type="http://schemas.openxmlformats.org/officeDocument/2006/relationships/slideLayout" Target="../slideLayouts/slideLayout281.xml"/><Relationship Id="rId502" Type="http://schemas.openxmlformats.org/officeDocument/2006/relationships/slideLayout" Target="../slideLayouts/slideLayout502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586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7.xml"/><Relationship Id="rId239" Type="http://schemas.openxmlformats.org/officeDocument/2006/relationships/slideLayout" Target="../slideLayouts/slideLayout239.xml"/><Relationship Id="rId446" Type="http://schemas.openxmlformats.org/officeDocument/2006/relationships/slideLayout" Target="../slideLayouts/slideLayout446.xml"/><Relationship Id="rId653" Type="http://schemas.openxmlformats.org/officeDocument/2006/relationships/slideLayout" Target="../slideLayouts/slideLayout653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87" Type="http://schemas.openxmlformats.org/officeDocument/2006/relationships/slideLayout" Target="../slideLayouts/slideLayout87.xml"/><Relationship Id="rId513" Type="http://schemas.openxmlformats.org/officeDocument/2006/relationships/slideLayout" Target="../slideLayouts/slideLayout513.xml"/><Relationship Id="rId597" Type="http://schemas.openxmlformats.org/officeDocument/2006/relationships/slideLayout" Target="../slideLayouts/slideLayout597.xml"/><Relationship Id="rId152" Type="http://schemas.openxmlformats.org/officeDocument/2006/relationships/slideLayout" Target="../slideLayouts/slideLayout152.xml"/><Relationship Id="rId457" Type="http://schemas.openxmlformats.org/officeDocument/2006/relationships/slideLayout" Target="../slideLayouts/slideLayout457.xml"/><Relationship Id="rId664" Type="http://schemas.openxmlformats.org/officeDocument/2006/relationships/slideLayout" Target="../slideLayouts/slideLayout664.xml"/><Relationship Id="rId14" Type="http://schemas.openxmlformats.org/officeDocument/2006/relationships/slideLayout" Target="../slideLayouts/slideLayout14.xml"/><Relationship Id="rId317" Type="http://schemas.openxmlformats.org/officeDocument/2006/relationships/slideLayout" Target="../slideLayouts/slideLayout317.xml"/><Relationship Id="rId524" Type="http://schemas.openxmlformats.org/officeDocument/2006/relationships/slideLayout" Target="../slideLayouts/slideLayout524.xml"/><Relationship Id="rId98" Type="http://schemas.openxmlformats.org/officeDocument/2006/relationships/slideLayout" Target="../slideLayouts/slideLayout98.xml"/><Relationship Id="rId163" Type="http://schemas.openxmlformats.org/officeDocument/2006/relationships/slideLayout" Target="../slideLayouts/slideLayout163.xml"/><Relationship Id="rId370" Type="http://schemas.openxmlformats.org/officeDocument/2006/relationships/slideLayout" Target="../slideLayouts/slideLayout370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675" Type="http://schemas.openxmlformats.org/officeDocument/2006/relationships/slideLayout" Target="../slideLayouts/slideLayout675.xml"/><Relationship Id="rId25" Type="http://schemas.openxmlformats.org/officeDocument/2006/relationships/slideLayout" Target="../slideLayouts/slideLayout25.xml"/><Relationship Id="rId328" Type="http://schemas.openxmlformats.org/officeDocument/2006/relationships/slideLayout" Target="../slideLayouts/slideLayout328.xml"/><Relationship Id="rId535" Type="http://schemas.openxmlformats.org/officeDocument/2006/relationships/slideLayout" Target="../slideLayouts/slideLayout535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602" Type="http://schemas.openxmlformats.org/officeDocument/2006/relationships/slideLayout" Target="../slideLayouts/slideLayout602.xml"/><Relationship Id="rId241" Type="http://schemas.openxmlformats.org/officeDocument/2006/relationships/slideLayout" Target="../slideLayouts/slideLayout241.xml"/><Relationship Id="rId479" Type="http://schemas.openxmlformats.org/officeDocument/2006/relationships/slideLayout" Target="../slideLayouts/slideLayout479.xml"/><Relationship Id="rId686" Type="http://schemas.openxmlformats.org/officeDocument/2006/relationships/slideLayout" Target="../slideLayouts/slideLayout686.xml"/><Relationship Id="rId36" Type="http://schemas.openxmlformats.org/officeDocument/2006/relationships/slideLayout" Target="../slideLayouts/slideLayout36.xml"/><Relationship Id="rId339" Type="http://schemas.openxmlformats.org/officeDocument/2006/relationships/slideLayout" Target="../slideLayouts/slideLayout339.xml"/><Relationship Id="rId546" Type="http://schemas.openxmlformats.org/officeDocument/2006/relationships/slideLayout" Target="../slideLayouts/slideLayout546.xml"/><Relationship Id="rId101" Type="http://schemas.openxmlformats.org/officeDocument/2006/relationships/slideLayout" Target="../slideLayouts/slideLayout101.xml"/><Relationship Id="rId185" Type="http://schemas.openxmlformats.org/officeDocument/2006/relationships/slideLayout" Target="../slideLayouts/slideLayout185.xml"/><Relationship Id="rId406" Type="http://schemas.openxmlformats.org/officeDocument/2006/relationships/slideLayout" Target="../slideLayouts/slideLayout406.xml"/><Relationship Id="rId392" Type="http://schemas.openxmlformats.org/officeDocument/2006/relationships/slideLayout" Target="../slideLayouts/slideLayout392.xml"/><Relationship Id="rId613" Type="http://schemas.openxmlformats.org/officeDocument/2006/relationships/slideLayout" Target="../slideLayouts/slideLayout613.xml"/><Relationship Id="rId25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47.xml"/><Relationship Id="rId112" Type="http://schemas.openxmlformats.org/officeDocument/2006/relationships/slideLayout" Target="../slideLayouts/slideLayout112.xml"/><Relationship Id="rId557" Type="http://schemas.openxmlformats.org/officeDocument/2006/relationships/slideLayout" Target="../slideLayouts/slideLayout557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624" Type="http://schemas.openxmlformats.org/officeDocument/2006/relationships/slideLayout" Target="../slideLayouts/slideLayout624.xml"/><Relationship Id="rId263" Type="http://schemas.openxmlformats.org/officeDocument/2006/relationships/slideLayout" Target="../slideLayouts/slideLayout263.xml"/><Relationship Id="rId470" Type="http://schemas.openxmlformats.org/officeDocument/2006/relationships/slideLayout" Target="../slideLayouts/slideLayout470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568" Type="http://schemas.openxmlformats.org/officeDocument/2006/relationships/slideLayout" Target="../slideLayouts/slideLayout568.xml"/><Relationship Id="rId428" Type="http://schemas.openxmlformats.org/officeDocument/2006/relationships/slideLayout" Target="../slideLayouts/slideLayout428.xml"/><Relationship Id="rId635" Type="http://schemas.openxmlformats.org/officeDocument/2006/relationships/slideLayout" Target="../slideLayouts/slideLayout635.xml"/><Relationship Id="rId274" Type="http://schemas.openxmlformats.org/officeDocument/2006/relationships/slideLayout" Target="../slideLayouts/slideLayout274.xml"/><Relationship Id="rId481" Type="http://schemas.openxmlformats.org/officeDocument/2006/relationships/slideLayout" Target="../slideLayouts/slideLayout481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579" Type="http://schemas.openxmlformats.org/officeDocument/2006/relationships/slideLayout" Target="../slideLayouts/slideLayout579.xml"/><Relationship Id="rId341" Type="http://schemas.openxmlformats.org/officeDocument/2006/relationships/slideLayout" Target="../slideLayouts/slideLayout341.xml"/><Relationship Id="rId439" Type="http://schemas.openxmlformats.org/officeDocument/2006/relationships/slideLayout" Target="../slideLayouts/slideLayout439.xml"/><Relationship Id="rId646" Type="http://schemas.openxmlformats.org/officeDocument/2006/relationships/slideLayout" Target="../slideLayouts/slideLayout646.xml"/><Relationship Id="rId201" Type="http://schemas.openxmlformats.org/officeDocument/2006/relationships/slideLayout" Target="../slideLayouts/slideLayout201.xml"/><Relationship Id="rId285" Type="http://schemas.openxmlformats.org/officeDocument/2006/relationships/slideLayout" Target="../slideLayouts/slideLayout285.xml"/><Relationship Id="rId506" Type="http://schemas.openxmlformats.org/officeDocument/2006/relationships/slideLayout" Target="../slideLayouts/slideLayout506.xml"/><Relationship Id="rId492" Type="http://schemas.openxmlformats.org/officeDocument/2006/relationships/slideLayout" Target="../slideLayouts/slideLayout492.xml"/><Relationship Id="rId145" Type="http://schemas.openxmlformats.org/officeDocument/2006/relationships/slideLayout" Target="../slideLayouts/slideLayout145.xml"/><Relationship Id="rId352" Type="http://schemas.openxmlformats.org/officeDocument/2006/relationships/slideLayout" Target="../slideLayouts/slideLayout352.xml"/><Relationship Id="rId212" Type="http://schemas.openxmlformats.org/officeDocument/2006/relationships/slideLayout" Target="../slideLayouts/slideLayout212.xml"/><Relationship Id="rId657" Type="http://schemas.openxmlformats.org/officeDocument/2006/relationships/slideLayout" Target="../slideLayouts/slideLayout657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517" Type="http://schemas.openxmlformats.org/officeDocument/2006/relationships/slideLayout" Target="../slideLayouts/slideLayout517.xml"/><Relationship Id="rId559" Type="http://schemas.openxmlformats.org/officeDocument/2006/relationships/slideLayout" Target="../slideLayouts/slideLayout559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570" Type="http://schemas.openxmlformats.org/officeDocument/2006/relationships/slideLayout" Target="../slideLayouts/slideLayout570.xml"/><Relationship Id="rId626" Type="http://schemas.openxmlformats.org/officeDocument/2006/relationships/slideLayout" Target="../slideLayouts/slideLayout626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668" Type="http://schemas.openxmlformats.org/officeDocument/2006/relationships/slideLayout" Target="../slideLayouts/slideLayout668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472" Type="http://schemas.openxmlformats.org/officeDocument/2006/relationships/slideLayout" Target="../slideLayouts/slideLayout472.xml"/><Relationship Id="rId528" Type="http://schemas.openxmlformats.org/officeDocument/2006/relationships/slideLayout" Target="../slideLayouts/slideLayout528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581" Type="http://schemas.openxmlformats.org/officeDocument/2006/relationships/slideLayout" Target="../slideLayouts/slideLayout581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637" Type="http://schemas.openxmlformats.org/officeDocument/2006/relationships/slideLayout" Target="../slideLayouts/slideLayout637.xml"/><Relationship Id="rId679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83" Type="http://schemas.openxmlformats.org/officeDocument/2006/relationships/slideLayout" Target="../slideLayouts/slideLayout483.xml"/><Relationship Id="rId539" Type="http://schemas.openxmlformats.org/officeDocument/2006/relationships/slideLayout" Target="../slideLayouts/slideLayout539.xml"/><Relationship Id="rId40" Type="http://schemas.openxmlformats.org/officeDocument/2006/relationships/slideLayout" Target="../slideLayouts/slideLayout40.xml"/><Relationship Id="rId136" Type="http://schemas.openxmlformats.org/officeDocument/2006/relationships/slideLayout" Target="../slideLayouts/slideLayout136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43" Type="http://schemas.openxmlformats.org/officeDocument/2006/relationships/slideLayout" Target="../slideLayouts/slideLayout343.xml"/><Relationship Id="rId550" Type="http://schemas.openxmlformats.org/officeDocument/2006/relationships/slideLayout" Target="../slideLayouts/slideLayout550.xml"/><Relationship Id="rId82" Type="http://schemas.openxmlformats.org/officeDocument/2006/relationships/slideLayout" Target="../slideLayouts/slideLayout82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592" Type="http://schemas.openxmlformats.org/officeDocument/2006/relationships/slideLayout" Target="../slideLayouts/slideLayout592.xml"/><Relationship Id="rId606" Type="http://schemas.openxmlformats.org/officeDocument/2006/relationships/slideLayout" Target="../slideLayouts/slideLayout606.xml"/><Relationship Id="rId648" Type="http://schemas.openxmlformats.org/officeDocument/2006/relationships/slideLayout" Target="../slideLayouts/slideLayout648.xml"/><Relationship Id="rId245" Type="http://schemas.openxmlformats.org/officeDocument/2006/relationships/slideLayout" Target="../slideLayouts/slideLayout245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52" Type="http://schemas.openxmlformats.org/officeDocument/2006/relationships/slideLayout" Target="../slideLayouts/slideLayout452.xml"/><Relationship Id="rId494" Type="http://schemas.openxmlformats.org/officeDocument/2006/relationships/slideLayout" Target="../slideLayouts/slideLayout494.xml"/><Relationship Id="rId508" Type="http://schemas.openxmlformats.org/officeDocument/2006/relationships/slideLayout" Target="../slideLayouts/slideLayout508.xml"/><Relationship Id="rId105" Type="http://schemas.openxmlformats.org/officeDocument/2006/relationships/slideLayout" Target="../slideLayouts/slideLayout105.xml"/><Relationship Id="rId147" Type="http://schemas.openxmlformats.org/officeDocument/2006/relationships/slideLayout" Target="../slideLayouts/slideLayout147.xml"/><Relationship Id="rId312" Type="http://schemas.openxmlformats.org/officeDocument/2006/relationships/slideLayout" Target="../slideLayouts/slideLayout312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96" Type="http://schemas.openxmlformats.org/officeDocument/2006/relationships/slideLayout" Target="../slideLayouts/slideLayout396.xml"/><Relationship Id="rId561" Type="http://schemas.openxmlformats.org/officeDocument/2006/relationships/slideLayout" Target="../slideLayouts/slideLayout561.xml"/><Relationship Id="rId617" Type="http://schemas.openxmlformats.org/officeDocument/2006/relationships/slideLayout" Target="../slideLayouts/slideLayout617.xml"/><Relationship Id="rId659" Type="http://schemas.openxmlformats.org/officeDocument/2006/relationships/slideLayout" Target="../slideLayouts/slideLayout659.xml"/><Relationship Id="rId214" Type="http://schemas.openxmlformats.org/officeDocument/2006/relationships/slideLayout" Target="../slideLayouts/slideLayout214.xml"/><Relationship Id="rId256" Type="http://schemas.openxmlformats.org/officeDocument/2006/relationships/slideLayout" Target="../slideLayouts/slideLayout256.xml"/><Relationship Id="rId298" Type="http://schemas.openxmlformats.org/officeDocument/2006/relationships/slideLayout" Target="../slideLayouts/slideLayout298.xml"/><Relationship Id="rId421" Type="http://schemas.openxmlformats.org/officeDocument/2006/relationships/slideLayout" Target="../slideLayouts/slideLayout421.xml"/><Relationship Id="rId463" Type="http://schemas.openxmlformats.org/officeDocument/2006/relationships/slideLayout" Target="../slideLayouts/slideLayout463.xml"/><Relationship Id="rId519" Type="http://schemas.openxmlformats.org/officeDocument/2006/relationships/slideLayout" Target="../slideLayouts/slideLayout519.xml"/><Relationship Id="rId670" Type="http://schemas.openxmlformats.org/officeDocument/2006/relationships/slideLayout" Target="../slideLayouts/slideLayout670.xml"/><Relationship Id="rId116" Type="http://schemas.openxmlformats.org/officeDocument/2006/relationships/slideLayout" Target="../slideLayouts/slideLayout116.xml"/><Relationship Id="rId158" Type="http://schemas.openxmlformats.org/officeDocument/2006/relationships/slideLayout" Target="../slideLayouts/slideLayout158.xml"/><Relationship Id="rId323" Type="http://schemas.openxmlformats.org/officeDocument/2006/relationships/slideLayout" Target="../slideLayouts/slideLayout323.xml"/><Relationship Id="rId530" Type="http://schemas.openxmlformats.org/officeDocument/2006/relationships/slideLayout" Target="../slideLayouts/slideLayout530.xml"/><Relationship Id="rId20" Type="http://schemas.openxmlformats.org/officeDocument/2006/relationships/slideLayout" Target="../slideLayouts/slideLayout20.xml"/><Relationship Id="rId62" Type="http://schemas.openxmlformats.org/officeDocument/2006/relationships/slideLayout" Target="../slideLayouts/slideLayout62.xml"/><Relationship Id="rId365" Type="http://schemas.openxmlformats.org/officeDocument/2006/relationships/slideLayout" Target="../slideLayouts/slideLayout365.xml"/><Relationship Id="rId572" Type="http://schemas.openxmlformats.org/officeDocument/2006/relationships/slideLayout" Target="../slideLayouts/slideLayout572.xml"/><Relationship Id="rId628" Type="http://schemas.openxmlformats.org/officeDocument/2006/relationships/slideLayout" Target="../slideLayouts/slideLayout628.xml"/><Relationship Id="rId225" Type="http://schemas.openxmlformats.org/officeDocument/2006/relationships/slideLayout" Target="../slideLayouts/slideLayout225.xml"/><Relationship Id="rId267" Type="http://schemas.openxmlformats.org/officeDocument/2006/relationships/slideLayout" Target="../slideLayouts/slideLayout267.xml"/><Relationship Id="rId432" Type="http://schemas.openxmlformats.org/officeDocument/2006/relationships/slideLayout" Target="../slideLayouts/slideLayout432.xml"/><Relationship Id="rId474" Type="http://schemas.openxmlformats.org/officeDocument/2006/relationships/slideLayout" Target="../slideLayouts/slideLayout474.xml"/><Relationship Id="rId127" Type="http://schemas.openxmlformats.org/officeDocument/2006/relationships/slideLayout" Target="../slideLayouts/slideLayout127.xml"/><Relationship Id="rId681" Type="http://schemas.openxmlformats.org/officeDocument/2006/relationships/slideLayout" Target="../slideLayouts/slideLayout681.xml"/><Relationship Id="rId31" Type="http://schemas.openxmlformats.org/officeDocument/2006/relationships/slideLayout" Target="../slideLayouts/slideLayout31.xml"/><Relationship Id="rId73" Type="http://schemas.openxmlformats.org/officeDocument/2006/relationships/slideLayout" Target="../slideLayouts/slideLayout73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76" Type="http://schemas.openxmlformats.org/officeDocument/2006/relationships/slideLayout" Target="../slideLayouts/slideLayout376.xml"/><Relationship Id="rId541" Type="http://schemas.openxmlformats.org/officeDocument/2006/relationships/slideLayout" Target="../slideLayouts/slideLayout541.xml"/><Relationship Id="rId583" Type="http://schemas.openxmlformats.org/officeDocument/2006/relationships/slideLayout" Target="../slideLayouts/slideLayout583.xml"/><Relationship Id="rId639" Type="http://schemas.openxmlformats.org/officeDocument/2006/relationships/slideLayout" Target="../slideLayouts/slideLayout63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36" Type="http://schemas.openxmlformats.org/officeDocument/2006/relationships/slideLayout" Target="../slideLayouts/slideLayout236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43" Type="http://schemas.openxmlformats.org/officeDocument/2006/relationships/slideLayout" Target="../slideLayouts/slideLayout443.xml"/><Relationship Id="rId650" Type="http://schemas.openxmlformats.org/officeDocument/2006/relationships/slideLayout" Target="../slideLayouts/slideLayout650.xml"/><Relationship Id="rId303" Type="http://schemas.openxmlformats.org/officeDocument/2006/relationships/slideLayout" Target="../slideLayouts/slideLayout303.xml"/><Relationship Id="rId485" Type="http://schemas.openxmlformats.org/officeDocument/2006/relationships/slideLayout" Target="../slideLayouts/slideLayout485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510" Type="http://schemas.openxmlformats.org/officeDocument/2006/relationships/slideLayout" Target="../slideLayouts/slideLayout510.xml"/><Relationship Id="rId552" Type="http://schemas.openxmlformats.org/officeDocument/2006/relationships/slideLayout" Target="../slideLayouts/slideLayout552.xml"/><Relationship Id="rId594" Type="http://schemas.openxmlformats.org/officeDocument/2006/relationships/slideLayout" Target="../slideLayouts/slideLayout594.xml"/><Relationship Id="rId608" Type="http://schemas.openxmlformats.org/officeDocument/2006/relationships/slideLayout" Target="../slideLayouts/slideLayout60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496" Type="http://schemas.openxmlformats.org/officeDocument/2006/relationships/slideLayout" Target="../slideLayouts/slideLayout496.xml"/><Relationship Id="rId661" Type="http://schemas.openxmlformats.org/officeDocument/2006/relationships/slideLayout" Target="../slideLayouts/slideLayout661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521" Type="http://schemas.openxmlformats.org/officeDocument/2006/relationships/slideLayout" Target="../slideLayouts/slideLayout521.xml"/><Relationship Id="rId563" Type="http://schemas.openxmlformats.org/officeDocument/2006/relationships/slideLayout" Target="../slideLayouts/slideLayout563.xml"/><Relationship Id="rId619" Type="http://schemas.openxmlformats.org/officeDocument/2006/relationships/slideLayout" Target="../slideLayouts/slideLayout619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630" Type="http://schemas.openxmlformats.org/officeDocument/2006/relationships/slideLayout" Target="../slideLayouts/slideLayout630.xml"/><Relationship Id="rId672" Type="http://schemas.openxmlformats.org/officeDocument/2006/relationships/slideLayout" Target="../slideLayouts/slideLayout672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532" Type="http://schemas.openxmlformats.org/officeDocument/2006/relationships/slideLayout" Target="../slideLayouts/slideLayout532.xml"/><Relationship Id="rId574" Type="http://schemas.openxmlformats.org/officeDocument/2006/relationships/slideLayout" Target="../slideLayouts/slideLayout574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476" Type="http://schemas.openxmlformats.org/officeDocument/2006/relationships/slideLayout" Target="../slideLayouts/slideLayout476.xml"/><Relationship Id="rId641" Type="http://schemas.openxmlformats.org/officeDocument/2006/relationships/slideLayout" Target="../slideLayouts/slideLayout641.xml"/><Relationship Id="rId683" Type="http://schemas.openxmlformats.org/officeDocument/2006/relationships/slideLayout" Target="../slideLayouts/slideLayout683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501" Type="http://schemas.openxmlformats.org/officeDocument/2006/relationships/slideLayout" Target="../slideLayouts/slideLayout501.xml"/><Relationship Id="rId543" Type="http://schemas.openxmlformats.org/officeDocument/2006/relationships/slideLayout" Target="../slideLayouts/slideLayout543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585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487" Type="http://schemas.openxmlformats.org/officeDocument/2006/relationships/slideLayout" Target="../slideLayouts/slideLayout487.xml"/><Relationship Id="rId610" Type="http://schemas.openxmlformats.org/officeDocument/2006/relationships/slideLayout" Target="../slideLayouts/slideLayout610.xml"/><Relationship Id="rId652" Type="http://schemas.openxmlformats.org/officeDocument/2006/relationships/slideLayout" Target="../slideLayouts/slideLayout652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512" Type="http://schemas.openxmlformats.org/officeDocument/2006/relationships/slideLayout" Target="../slideLayouts/slideLayout512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554" Type="http://schemas.openxmlformats.org/officeDocument/2006/relationships/slideLayout" Target="../slideLayouts/slideLayout554.xml"/><Relationship Id="rId596" Type="http://schemas.openxmlformats.org/officeDocument/2006/relationships/slideLayout" Target="../slideLayouts/slideLayout596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498" Type="http://schemas.openxmlformats.org/officeDocument/2006/relationships/slideLayout" Target="../slideLayouts/slideLayout498.xml"/><Relationship Id="rId621" Type="http://schemas.openxmlformats.org/officeDocument/2006/relationships/slideLayout" Target="../slideLayouts/slideLayout621.xml"/><Relationship Id="rId663" Type="http://schemas.openxmlformats.org/officeDocument/2006/relationships/slideLayout" Target="../slideLayouts/slideLayout663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23" Type="http://schemas.openxmlformats.org/officeDocument/2006/relationships/slideLayout" Target="../slideLayouts/slideLayout523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565" Type="http://schemas.openxmlformats.org/officeDocument/2006/relationships/slideLayout" Target="../slideLayouts/slideLayout565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632" Type="http://schemas.openxmlformats.org/officeDocument/2006/relationships/slideLayout" Target="../slideLayouts/slideLayout632.xml"/><Relationship Id="rId271" Type="http://schemas.openxmlformats.org/officeDocument/2006/relationships/slideLayout" Target="../slideLayouts/slideLayout271.xml"/><Relationship Id="rId674" Type="http://schemas.openxmlformats.org/officeDocument/2006/relationships/slideLayout" Target="../slideLayouts/slideLayout674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534" Type="http://schemas.openxmlformats.org/officeDocument/2006/relationships/slideLayout" Target="../slideLayouts/slideLayout534.xml"/><Relationship Id="rId576" Type="http://schemas.openxmlformats.org/officeDocument/2006/relationships/slideLayout" Target="../slideLayouts/slideLayout576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601" Type="http://schemas.openxmlformats.org/officeDocument/2006/relationships/slideLayout" Target="../slideLayouts/slideLayout601.xml"/><Relationship Id="rId643" Type="http://schemas.openxmlformats.org/officeDocument/2006/relationships/slideLayout" Target="../slideLayouts/slideLayout643.xml"/><Relationship Id="rId240" Type="http://schemas.openxmlformats.org/officeDocument/2006/relationships/slideLayout" Target="../slideLayouts/slideLayout240.xml"/><Relationship Id="rId478" Type="http://schemas.openxmlformats.org/officeDocument/2006/relationships/slideLayout" Target="../slideLayouts/slideLayout478.xml"/><Relationship Id="rId685" Type="http://schemas.openxmlformats.org/officeDocument/2006/relationships/slideLayout" Target="../slideLayouts/slideLayout685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503" Type="http://schemas.openxmlformats.org/officeDocument/2006/relationships/slideLayout" Target="../slideLayouts/slideLayout503.xml"/><Relationship Id="rId545" Type="http://schemas.openxmlformats.org/officeDocument/2006/relationships/slideLayout" Target="../slideLayouts/slideLayout545.xml"/><Relationship Id="rId587" Type="http://schemas.openxmlformats.org/officeDocument/2006/relationships/slideLayout" Target="../slideLayouts/slideLayout587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612" Type="http://schemas.openxmlformats.org/officeDocument/2006/relationships/slideLayout" Target="../slideLayouts/slideLayout612.xml"/><Relationship Id="rId251" Type="http://schemas.openxmlformats.org/officeDocument/2006/relationships/slideLayout" Target="../slideLayouts/slideLayout251.xml"/><Relationship Id="rId489" Type="http://schemas.openxmlformats.org/officeDocument/2006/relationships/slideLayout" Target="../slideLayouts/slideLayout489.xml"/><Relationship Id="rId654" Type="http://schemas.openxmlformats.org/officeDocument/2006/relationships/slideLayout" Target="../slideLayouts/slideLayout654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514" Type="http://schemas.openxmlformats.org/officeDocument/2006/relationships/slideLayout" Target="../slideLayouts/slideLayout514.xml"/><Relationship Id="rId556" Type="http://schemas.openxmlformats.org/officeDocument/2006/relationships/slideLayout" Target="../slideLayouts/slideLayout556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598" Type="http://schemas.openxmlformats.org/officeDocument/2006/relationships/slideLayout" Target="../slideLayouts/slideLayout598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623" Type="http://schemas.openxmlformats.org/officeDocument/2006/relationships/slideLayout" Target="../slideLayouts/slideLayout623.xml"/><Relationship Id="rId665" Type="http://schemas.openxmlformats.org/officeDocument/2006/relationships/slideLayout" Target="../slideLayouts/slideLayout665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525" Type="http://schemas.openxmlformats.org/officeDocument/2006/relationships/slideLayout" Target="../slideLayouts/slideLayout525.xml"/><Relationship Id="rId567" Type="http://schemas.openxmlformats.org/officeDocument/2006/relationships/slideLayout" Target="../slideLayouts/slideLayout567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634" Type="http://schemas.openxmlformats.org/officeDocument/2006/relationships/slideLayout" Target="../slideLayouts/slideLayout634.xml"/><Relationship Id="rId676" Type="http://schemas.openxmlformats.org/officeDocument/2006/relationships/slideLayout" Target="../slideLayouts/slideLayout676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480" Type="http://schemas.openxmlformats.org/officeDocument/2006/relationships/slideLayout" Target="../slideLayouts/slideLayout480.xml"/><Relationship Id="rId536" Type="http://schemas.openxmlformats.org/officeDocument/2006/relationships/slideLayout" Target="../slideLayouts/slideLayout536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578" Type="http://schemas.openxmlformats.org/officeDocument/2006/relationships/slideLayout" Target="../slideLayouts/slideLayout578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603" Type="http://schemas.openxmlformats.org/officeDocument/2006/relationships/slideLayout" Target="../slideLayouts/slideLayout603.xml"/><Relationship Id="rId645" Type="http://schemas.openxmlformats.org/officeDocument/2006/relationships/slideLayout" Target="../slideLayouts/slideLayout645.xml"/><Relationship Id="rId687" Type="http://schemas.openxmlformats.org/officeDocument/2006/relationships/slideLayout" Target="../slideLayouts/slideLayout687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491" Type="http://schemas.openxmlformats.org/officeDocument/2006/relationships/slideLayout" Target="../slideLayouts/slideLayout491.xml"/><Relationship Id="rId505" Type="http://schemas.openxmlformats.org/officeDocument/2006/relationships/slideLayout" Target="../slideLayouts/slideLayout505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547" Type="http://schemas.openxmlformats.org/officeDocument/2006/relationships/slideLayout" Target="../slideLayouts/slideLayout547.xml"/><Relationship Id="rId589" Type="http://schemas.openxmlformats.org/officeDocument/2006/relationships/slideLayout" Target="../slideLayouts/slideLayout589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614" Type="http://schemas.openxmlformats.org/officeDocument/2006/relationships/slideLayout" Target="../slideLayouts/slideLayout614.xml"/><Relationship Id="rId656" Type="http://schemas.openxmlformats.org/officeDocument/2006/relationships/slideLayout" Target="../slideLayouts/slideLayout656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516" Type="http://schemas.openxmlformats.org/officeDocument/2006/relationships/slideLayout" Target="../slideLayouts/slideLayout516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558" Type="http://schemas.openxmlformats.org/officeDocument/2006/relationships/slideLayout" Target="../slideLayouts/slideLayout558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625" Type="http://schemas.openxmlformats.org/officeDocument/2006/relationships/slideLayout" Target="../slideLayouts/slideLayout625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471" Type="http://schemas.openxmlformats.org/officeDocument/2006/relationships/slideLayout" Target="../slideLayouts/slideLayout471.xml"/><Relationship Id="rId667" Type="http://schemas.openxmlformats.org/officeDocument/2006/relationships/slideLayout" Target="../slideLayouts/slideLayout667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527" Type="http://schemas.openxmlformats.org/officeDocument/2006/relationships/slideLayout" Target="../slideLayouts/slideLayout527.xml"/><Relationship Id="rId569" Type="http://schemas.openxmlformats.org/officeDocument/2006/relationships/slideLayout" Target="../slideLayouts/slideLayout569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580" Type="http://schemas.openxmlformats.org/officeDocument/2006/relationships/slideLayout" Target="../slideLayouts/slideLayout580.xml"/><Relationship Id="rId636" Type="http://schemas.openxmlformats.org/officeDocument/2006/relationships/slideLayout" Target="../slideLayouts/slideLayout636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678" Type="http://schemas.openxmlformats.org/officeDocument/2006/relationships/slideLayout" Target="../slideLayouts/slideLayout678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482" Type="http://schemas.openxmlformats.org/officeDocument/2006/relationships/slideLayout" Target="../slideLayouts/slideLayout482.xml"/><Relationship Id="rId538" Type="http://schemas.openxmlformats.org/officeDocument/2006/relationships/slideLayout" Target="../slideLayouts/slideLayout538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591" Type="http://schemas.openxmlformats.org/officeDocument/2006/relationships/slideLayout" Target="../slideLayouts/slideLayout591.xml"/><Relationship Id="rId605" Type="http://schemas.openxmlformats.org/officeDocument/2006/relationships/slideLayout" Target="../slideLayouts/slideLayout605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647" Type="http://schemas.openxmlformats.org/officeDocument/2006/relationships/slideLayout" Target="../slideLayouts/slideLayout647.xml"/><Relationship Id="rId689" Type="http://schemas.openxmlformats.org/officeDocument/2006/relationships/theme" Target="../theme/theme1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493" Type="http://schemas.openxmlformats.org/officeDocument/2006/relationships/slideLayout" Target="../slideLayouts/slideLayout493.xml"/><Relationship Id="rId507" Type="http://schemas.openxmlformats.org/officeDocument/2006/relationships/slideLayout" Target="../slideLayouts/slideLayout507.xml"/><Relationship Id="rId549" Type="http://schemas.openxmlformats.org/officeDocument/2006/relationships/slideLayout" Target="../slideLayouts/slideLayout54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560" Type="http://schemas.openxmlformats.org/officeDocument/2006/relationships/slideLayout" Target="../slideLayouts/slideLayout560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616" Type="http://schemas.openxmlformats.org/officeDocument/2006/relationships/slideLayout" Target="../slideLayouts/slideLayout616.xml"/><Relationship Id="rId658" Type="http://schemas.openxmlformats.org/officeDocument/2006/relationships/slideLayout" Target="../slideLayouts/slideLayout658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slideLayout" Target="../slideLayouts/slideLayout462.xml"/><Relationship Id="rId518" Type="http://schemas.openxmlformats.org/officeDocument/2006/relationships/slideLayout" Target="../slideLayouts/slideLayout518.xml"/><Relationship Id="rId115" Type="http://schemas.openxmlformats.org/officeDocument/2006/relationships/slideLayout" Target="../slideLayouts/slideLayout115.xml"/><Relationship Id="rId157" Type="http://schemas.openxmlformats.org/officeDocument/2006/relationships/slideLayout" Target="../slideLayouts/slideLayout157.xml"/><Relationship Id="rId322" Type="http://schemas.openxmlformats.org/officeDocument/2006/relationships/slideLayout" Target="../slideLayouts/slideLayout322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199" Type="http://schemas.openxmlformats.org/officeDocument/2006/relationships/slideLayout" Target="../slideLayouts/slideLayout199.xml"/><Relationship Id="rId571" Type="http://schemas.openxmlformats.org/officeDocument/2006/relationships/slideLayout" Target="../slideLayouts/slideLayout571.xml"/><Relationship Id="rId627" Type="http://schemas.openxmlformats.org/officeDocument/2006/relationships/slideLayout" Target="../slideLayouts/slideLayout627.xml"/><Relationship Id="rId669" Type="http://schemas.openxmlformats.org/officeDocument/2006/relationships/slideLayout" Target="../slideLayouts/slideLayout669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66" Type="http://schemas.openxmlformats.org/officeDocument/2006/relationships/slideLayout" Target="../slideLayouts/slideLayout266.xml"/><Relationship Id="rId431" Type="http://schemas.openxmlformats.org/officeDocument/2006/relationships/slideLayout" Target="../slideLayouts/slideLayout431.xml"/><Relationship Id="rId473" Type="http://schemas.openxmlformats.org/officeDocument/2006/relationships/slideLayout" Target="../slideLayouts/slideLayout473.xml"/><Relationship Id="rId529" Type="http://schemas.openxmlformats.org/officeDocument/2006/relationships/slideLayout" Target="../slideLayouts/slideLayout529.xml"/><Relationship Id="rId680" Type="http://schemas.openxmlformats.org/officeDocument/2006/relationships/slideLayout" Target="../slideLayouts/slideLayout680.xml"/><Relationship Id="rId30" Type="http://schemas.openxmlformats.org/officeDocument/2006/relationships/slideLayout" Target="../slideLayouts/slideLayout30.xml"/><Relationship Id="rId126" Type="http://schemas.openxmlformats.org/officeDocument/2006/relationships/slideLayout" Target="../slideLayouts/slideLayout126.xml"/><Relationship Id="rId168" Type="http://schemas.openxmlformats.org/officeDocument/2006/relationships/slideLayout" Target="../slideLayouts/slideLayout168.xml"/><Relationship Id="rId333" Type="http://schemas.openxmlformats.org/officeDocument/2006/relationships/slideLayout" Target="../slideLayouts/slideLayout333.xml"/><Relationship Id="rId540" Type="http://schemas.openxmlformats.org/officeDocument/2006/relationships/slideLayout" Target="../slideLayouts/slideLayout540.xml"/><Relationship Id="rId72" Type="http://schemas.openxmlformats.org/officeDocument/2006/relationships/slideLayout" Target="../slideLayouts/slideLayout72.xml"/><Relationship Id="rId375" Type="http://schemas.openxmlformats.org/officeDocument/2006/relationships/slideLayout" Target="../slideLayouts/slideLayout375.xml"/><Relationship Id="rId582" Type="http://schemas.openxmlformats.org/officeDocument/2006/relationships/slideLayout" Target="../slideLayouts/slideLayout582.xml"/><Relationship Id="rId638" Type="http://schemas.openxmlformats.org/officeDocument/2006/relationships/slideLayout" Target="../slideLayouts/slideLayout638.xml"/><Relationship Id="rId3" Type="http://schemas.openxmlformats.org/officeDocument/2006/relationships/slideLayout" Target="../slideLayouts/slideLayout3.xml"/><Relationship Id="rId235" Type="http://schemas.openxmlformats.org/officeDocument/2006/relationships/slideLayout" Target="../slideLayouts/slideLayout235.xml"/><Relationship Id="rId277" Type="http://schemas.openxmlformats.org/officeDocument/2006/relationships/slideLayout" Target="../slideLayouts/slideLayout277.xml"/><Relationship Id="rId400" Type="http://schemas.openxmlformats.org/officeDocument/2006/relationships/slideLayout" Target="../slideLayouts/slideLayout400.xml"/><Relationship Id="rId442" Type="http://schemas.openxmlformats.org/officeDocument/2006/relationships/slideLayout" Target="../slideLayouts/slideLayout442.xml"/><Relationship Id="rId484" Type="http://schemas.openxmlformats.org/officeDocument/2006/relationships/slideLayout" Target="../slideLayouts/slideLayout484.xml"/><Relationship Id="rId137" Type="http://schemas.openxmlformats.org/officeDocument/2006/relationships/slideLayout" Target="../slideLayouts/slideLayout137.xml"/><Relationship Id="rId302" Type="http://schemas.openxmlformats.org/officeDocument/2006/relationships/slideLayout" Target="../slideLayouts/slideLayout302.xml"/><Relationship Id="rId344" Type="http://schemas.openxmlformats.org/officeDocument/2006/relationships/slideLayout" Target="../slideLayouts/slideLayout344.xml"/><Relationship Id="rId41" Type="http://schemas.openxmlformats.org/officeDocument/2006/relationships/slideLayout" Target="../slideLayouts/slideLayout41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86" Type="http://schemas.openxmlformats.org/officeDocument/2006/relationships/slideLayout" Target="../slideLayouts/slideLayout386.xml"/><Relationship Id="rId551" Type="http://schemas.openxmlformats.org/officeDocument/2006/relationships/slideLayout" Target="../slideLayouts/slideLayout551.xml"/><Relationship Id="rId593" Type="http://schemas.openxmlformats.org/officeDocument/2006/relationships/slideLayout" Target="../slideLayouts/slideLayout593.xml"/><Relationship Id="rId607" Type="http://schemas.openxmlformats.org/officeDocument/2006/relationships/slideLayout" Target="../slideLayouts/slideLayout607.xml"/><Relationship Id="rId649" Type="http://schemas.openxmlformats.org/officeDocument/2006/relationships/slideLayout" Target="../slideLayouts/slideLayout64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46" Type="http://schemas.openxmlformats.org/officeDocument/2006/relationships/slideLayout" Target="../slideLayouts/slideLayout246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53" Type="http://schemas.openxmlformats.org/officeDocument/2006/relationships/slideLayout" Target="../slideLayouts/slideLayout453.xml"/><Relationship Id="rId509" Type="http://schemas.openxmlformats.org/officeDocument/2006/relationships/slideLayout" Target="../slideLayouts/slideLayout509.xml"/><Relationship Id="rId660" Type="http://schemas.openxmlformats.org/officeDocument/2006/relationships/slideLayout" Target="../slideLayouts/slideLayout660.xml"/><Relationship Id="rId106" Type="http://schemas.openxmlformats.org/officeDocument/2006/relationships/slideLayout" Target="../slideLayouts/slideLayout106.xml"/><Relationship Id="rId313" Type="http://schemas.openxmlformats.org/officeDocument/2006/relationships/slideLayout" Target="../slideLayouts/slideLayout313.xml"/><Relationship Id="rId495" Type="http://schemas.openxmlformats.org/officeDocument/2006/relationships/slideLayout" Target="../slideLayouts/slideLayout495.xml"/><Relationship Id="rId10" Type="http://schemas.openxmlformats.org/officeDocument/2006/relationships/slideLayout" Target="../slideLayouts/slideLayout10.xml"/><Relationship Id="rId52" Type="http://schemas.openxmlformats.org/officeDocument/2006/relationships/slideLayout" Target="../slideLayouts/slideLayout52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355" Type="http://schemas.openxmlformats.org/officeDocument/2006/relationships/slideLayout" Target="../slideLayouts/slideLayout355.xml"/><Relationship Id="rId397" Type="http://schemas.openxmlformats.org/officeDocument/2006/relationships/slideLayout" Target="../slideLayouts/slideLayout397.xml"/><Relationship Id="rId520" Type="http://schemas.openxmlformats.org/officeDocument/2006/relationships/slideLayout" Target="../slideLayouts/slideLayout520.xml"/><Relationship Id="rId562" Type="http://schemas.openxmlformats.org/officeDocument/2006/relationships/slideLayout" Target="../slideLayouts/slideLayout562.xml"/><Relationship Id="rId618" Type="http://schemas.openxmlformats.org/officeDocument/2006/relationships/slideLayout" Target="../slideLayouts/slideLayout618.xml"/><Relationship Id="rId215" Type="http://schemas.openxmlformats.org/officeDocument/2006/relationships/slideLayout" Target="../slideLayouts/slideLayout215.xml"/><Relationship Id="rId257" Type="http://schemas.openxmlformats.org/officeDocument/2006/relationships/slideLayout" Target="../slideLayouts/slideLayout257.xml"/><Relationship Id="rId422" Type="http://schemas.openxmlformats.org/officeDocument/2006/relationships/slideLayout" Target="../slideLayouts/slideLayout422.xml"/><Relationship Id="rId464" Type="http://schemas.openxmlformats.org/officeDocument/2006/relationships/slideLayout" Target="../slideLayouts/slideLayout464.xml"/><Relationship Id="rId299" Type="http://schemas.openxmlformats.org/officeDocument/2006/relationships/slideLayout" Target="../slideLayouts/slideLayout299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66" Type="http://schemas.openxmlformats.org/officeDocument/2006/relationships/slideLayout" Target="../slideLayouts/slideLayout366.xml"/><Relationship Id="rId573" Type="http://schemas.openxmlformats.org/officeDocument/2006/relationships/slideLayout" Target="../slideLayouts/slideLayout573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640" Type="http://schemas.openxmlformats.org/officeDocument/2006/relationships/slideLayout" Target="../slideLayouts/slideLayout640.xml"/><Relationship Id="rId74" Type="http://schemas.openxmlformats.org/officeDocument/2006/relationships/slideLayout" Target="../slideLayouts/slideLayout74.xml"/><Relationship Id="rId377" Type="http://schemas.openxmlformats.org/officeDocument/2006/relationships/slideLayout" Target="../slideLayouts/slideLayout377.xml"/><Relationship Id="rId500" Type="http://schemas.openxmlformats.org/officeDocument/2006/relationships/slideLayout" Target="../slideLayouts/slideLayout500.xml"/><Relationship Id="rId584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.xml"/><Relationship Id="rId237" Type="http://schemas.openxmlformats.org/officeDocument/2006/relationships/slideLayout" Target="../slideLayouts/slideLayout237.xml"/><Relationship Id="rId444" Type="http://schemas.openxmlformats.org/officeDocument/2006/relationships/slideLayout" Target="../slideLayouts/slideLayout444.xml"/><Relationship Id="rId651" Type="http://schemas.openxmlformats.org/officeDocument/2006/relationships/slideLayout" Target="../slideLayouts/slideLayout651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88" Type="http://schemas.openxmlformats.org/officeDocument/2006/relationships/slideLayout" Target="../slideLayouts/slideLayout388.xml"/><Relationship Id="rId511" Type="http://schemas.openxmlformats.org/officeDocument/2006/relationships/slideLayout" Target="../slideLayouts/slideLayout511.xml"/><Relationship Id="rId609" Type="http://schemas.openxmlformats.org/officeDocument/2006/relationships/slideLayout" Target="../slideLayouts/slideLayout60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595" Type="http://schemas.openxmlformats.org/officeDocument/2006/relationships/slideLayout" Target="../slideLayouts/slideLayout595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662" Type="http://schemas.openxmlformats.org/officeDocument/2006/relationships/slideLayout" Target="../slideLayouts/slideLayout662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522" Type="http://schemas.openxmlformats.org/officeDocument/2006/relationships/slideLayout" Target="../slideLayouts/slideLayout522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66" Type="http://schemas.openxmlformats.org/officeDocument/2006/relationships/slideLayout" Target="../slideLayouts/slideLayout466.xml"/><Relationship Id="rId673" Type="http://schemas.openxmlformats.org/officeDocument/2006/relationships/slideLayout" Target="../slideLayouts/slideLayout673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326" Type="http://schemas.openxmlformats.org/officeDocument/2006/relationships/slideLayout" Target="../slideLayouts/slideLayout326.xml"/><Relationship Id="rId533" Type="http://schemas.openxmlformats.org/officeDocument/2006/relationships/slideLayout" Target="../slideLayouts/slideLayout533.xml"/><Relationship Id="rId172" Type="http://schemas.openxmlformats.org/officeDocument/2006/relationships/slideLayout" Target="../slideLayouts/slideLayout172.xml"/><Relationship Id="rId477" Type="http://schemas.openxmlformats.org/officeDocument/2006/relationships/slideLayout" Target="../slideLayouts/slideLayout477.xml"/><Relationship Id="rId600" Type="http://schemas.openxmlformats.org/officeDocument/2006/relationships/slideLayout" Target="../slideLayouts/slideLayout600.xml"/><Relationship Id="rId684" Type="http://schemas.openxmlformats.org/officeDocument/2006/relationships/slideLayout" Target="../slideLayouts/slideLayout684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544" Type="http://schemas.openxmlformats.org/officeDocument/2006/relationships/slideLayout" Target="../slideLayouts/slideLayout544.xml"/><Relationship Id="rId183" Type="http://schemas.openxmlformats.org/officeDocument/2006/relationships/slideLayout" Target="../slideLayouts/slideLayout183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611" Type="http://schemas.openxmlformats.org/officeDocument/2006/relationships/slideLayout" Target="../slideLayouts/slideLayout611.xml"/><Relationship Id="rId250" Type="http://schemas.openxmlformats.org/officeDocument/2006/relationships/slideLayout" Target="../slideLayouts/slideLayout250.xml"/><Relationship Id="rId488" Type="http://schemas.openxmlformats.org/officeDocument/2006/relationships/slideLayout" Target="../slideLayouts/slideLayout488.xml"/><Relationship Id="rId45" Type="http://schemas.openxmlformats.org/officeDocument/2006/relationships/slideLayout" Target="../slideLayouts/slideLayout45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555" Type="http://schemas.openxmlformats.org/officeDocument/2006/relationships/slideLayout" Target="../slideLayouts/slideLayout555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622" Type="http://schemas.openxmlformats.org/officeDocument/2006/relationships/slideLayout" Target="../slideLayouts/slideLayout622.xml"/><Relationship Id="rId261" Type="http://schemas.openxmlformats.org/officeDocument/2006/relationships/slideLayout" Target="../slideLayouts/slideLayout261.xml"/><Relationship Id="rId499" Type="http://schemas.openxmlformats.org/officeDocument/2006/relationships/slideLayout" Target="../slideLayouts/slideLayout499.xml"/><Relationship Id="rId56" Type="http://schemas.openxmlformats.org/officeDocument/2006/relationships/slideLayout" Target="../slideLayouts/slideLayout56.xml"/><Relationship Id="rId359" Type="http://schemas.openxmlformats.org/officeDocument/2006/relationships/slideLayout" Target="../slideLayouts/slideLayout359.xml"/><Relationship Id="rId566" Type="http://schemas.openxmlformats.org/officeDocument/2006/relationships/slideLayout" Target="../slideLayouts/slideLayout566.xml"/><Relationship Id="rId121" Type="http://schemas.openxmlformats.org/officeDocument/2006/relationships/slideLayout" Target="../slideLayouts/slideLayout121.xml"/><Relationship Id="rId219" Type="http://schemas.openxmlformats.org/officeDocument/2006/relationships/slideLayout" Target="../slideLayouts/slideLayout219.xml"/><Relationship Id="rId426" Type="http://schemas.openxmlformats.org/officeDocument/2006/relationships/slideLayout" Target="../slideLayouts/slideLayout426.xml"/><Relationship Id="rId633" Type="http://schemas.openxmlformats.org/officeDocument/2006/relationships/slideLayout" Target="../slideLayouts/slideLayout633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577" Type="http://schemas.openxmlformats.org/officeDocument/2006/relationships/slideLayout" Target="../slideLayouts/slideLayout577.xml"/><Relationship Id="rId132" Type="http://schemas.openxmlformats.org/officeDocument/2006/relationships/slideLayout" Target="../slideLayouts/slideLayout132.xml"/><Relationship Id="rId437" Type="http://schemas.openxmlformats.org/officeDocument/2006/relationships/slideLayout" Target="../slideLayouts/slideLayout437.xml"/><Relationship Id="rId644" Type="http://schemas.openxmlformats.org/officeDocument/2006/relationships/slideLayout" Target="../slideLayouts/slideLayout644.xml"/><Relationship Id="rId283" Type="http://schemas.openxmlformats.org/officeDocument/2006/relationships/slideLayout" Target="../slideLayouts/slideLayout283.xml"/><Relationship Id="rId490" Type="http://schemas.openxmlformats.org/officeDocument/2006/relationships/slideLayout" Target="../slideLayouts/slideLayout490.xml"/><Relationship Id="rId504" Type="http://schemas.openxmlformats.org/officeDocument/2006/relationships/slideLayout" Target="../slideLayouts/slideLayout504.xml"/><Relationship Id="rId78" Type="http://schemas.openxmlformats.org/officeDocument/2006/relationships/slideLayout" Target="../slideLayouts/slideLayout78.xml"/><Relationship Id="rId143" Type="http://schemas.openxmlformats.org/officeDocument/2006/relationships/slideLayout" Target="../slideLayouts/slideLayout143.xml"/><Relationship Id="rId350" Type="http://schemas.openxmlformats.org/officeDocument/2006/relationships/slideLayout" Target="../slideLayouts/slideLayout350.xml"/><Relationship Id="rId588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448" Type="http://schemas.openxmlformats.org/officeDocument/2006/relationships/slideLayout" Target="../slideLayouts/slideLayout448.xml"/><Relationship Id="rId655" Type="http://schemas.openxmlformats.org/officeDocument/2006/relationships/slideLayout" Target="../slideLayouts/slideLayout655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515" Type="http://schemas.openxmlformats.org/officeDocument/2006/relationships/slideLayout" Target="../slideLayouts/slideLayout515.xml"/><Relationship Id="rId89" Type="http://schemas.openxmlformats.org/officeDocument/2006/relationships/slideLayout" Target="../slideLayouts/slideLayout89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599" Type="http://schemas.openxmlformats.org/officeDocument/2006/relationships/slideLayout" Target="../slideLayouts/slideLayout599.xml"/><Relationship Id="rId459" Type="http://schemas.openxmlformats.org/officeDocument/2006/relationships/slideLayout" Target="../slideLayouts/slideLayout459.xml"/><Relationship Id="rId666" Type="http://schemas.openxmlformats.org/officeDocument/2006/relationships/slideLayout" Target="../slideLayouts/slideLayout666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319" Type="http://schemas.openxmlformats.org/officeDocument/2006/relationships/slideLayout" Target="../slideLayouts/slideLayout319.xml"/><Relationship Id="rId526" Type="http://schemas.openxmlformats.org/officeDocument/2006/relationships/slideLayout" Target="../slideLayouts/slideLayout526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677" Type="http://schemas.openxmlformats.org/officeDocument/2006/relationships/slideLayout" Target="../slideLayouts/slideLayout677.xml"/><Relationship Id="rId23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7.xml"/><Relationship Id="rId537" Type="http://schemas.openxmlformats.org/officeDocument/2006/relationships/slideLayout" Target="../slideLayouts/slideLayout537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83" Type="http://schemas.openxmlformats.org/officeDocument/2006/relationships/slideLayout" Target="../slideLayouts/slideLayout383.xml"/><Relationship Id="rId590" Type="http://schemas.openxmlformats.org/officeDocument/2006/relationships/slideLayout" Target="../slideLayouts/slideLayout590.xml"/><Relationship Id="rId604" Type="http://schemas.openxmlformats.org/officeDocument/2006/relationships/slideLayout" Target="../slideLayouts/slideLayout604.xml"/><Relationship Id="rId243" Type="http://schemas.openxmlformats.org/officeDocument/2006/relationships/slideLayout" Target="../slideLayouts/slideLayout243.xml"/><Relationship Id="rId450" Type="http://schemas.openxmlformats.org/officeDocument/2006/relationships/slideLayout" Target="../slideLayouts/slideLayout450.xml"/><Relationship Id="rId688" Type="http://schemas.openxmlformats.org/officeDocument/2006/relationships/slideLayout" Target="../slideLayouts/slideLayout688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548" Type="http://schemas.openxmlformats.org/officeDocument/2006/relationships/slideLayout" Target="../slideLayouts/slideLayout548.xml"/><Relationship Id="rId91" Type="http://schemas.openxmlformats.org/officeDocument/2006/relationships/slideLayout" Target="../slideLayouts/slideLayout91.xml"/><Relationship Id="rId187" Type="http://schemas.openxmlformats.org/officeDocument/2006/relationships/slideLayout" Target="../slideLayouts/slideLayout187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615" Type="http://schemas.openxmlformats.org/officeDocument/2006/relationships/slideLayout" Target="../slideLayouts/slideLayout615.xml"/><Relationship Id="rId254" Type="http://schemas.openxmlformats.org/officeDocument/2006/relationships/slideLayout" Target="../slideLayouts/slideLayout25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91.xml"/><Relationship Id="rId7" Type="http://schemas.openxmlformats.org/officeDocument/2006/relationships/slideLayout" Target="../slideLayouts/slideLayout695.xml"/><Relationship Id="rId12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690.xml"/><Relationship Id="rId1" Type="http://schemas.openxmlformats.org/officeDocument/2006/relationships/slideLayout" Target="../slideLayouts/slideLayout689.xml"/><Relationship Id="rId6" Type="http://schemas.openxmlformats.org/officeDocument/2006/relationships/slideLayout" Target="../slideLayouts/slideLayout694.xml"/><Relationship Id="rId11" Type="http://schemas.openxmlformats.org/officeDocument/2006/relationships/slideLayout" Target="../slideLayouts/slideLayout699.xml"/><Relationship Id="rId5" Type="http://schemas.openxmlformats.org/officeDocument/2006/relationships/slideLayout" Target="../slideLayouts/slideLayout693.xml"/><Relationship Id="rId10" Type="http://schemas.openxmlformats.org/officeDocument/2006/relationships/slideLayout" Target="../slideLayouts/slideLayout698.xml"/><Relationship Id="rId4" Type="http://schemas.openxmlformats.org/officeDocument/2006/relationships/slideLayout" Target="../slideLayouts/slideLayout692.xml"/><Relationship Id="rId9" Type="http://schemas.openxmlformats.org/officeDocument/2006/relationships/slideLayout" Target="../slideLayouts/slideLayout69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02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11" Type="http://schemas.openxmlformats.org/officeDocument/2006/relationships/slideLayout" Target="../slideLayouts/slideLayout711.xml"/><Relationship Id="rId5" Type="http://schemas.openxmlformats.org/officeDocument/2006/relationships/slideLayout" Target="../slideLayouts/slideLayout705.xml"/><Relationship Id="rId10" Type="http://schemas.openxmlformats.org/officeDocument/2006/relationships/slideLayout" Target="../slideLayouts/slideLayout710.xml"/><Relationship Id="rId4" Type="http://schemas.openxmlformats.org/officeDocument/2006/relationships/slideLayout" Target="../slideLayouts/slideLayout704.xml"/><Relationship Id="rId9" Type="http://schemas.openxmlformats.org/officeDocument/2006/relationships/slideLayout" Target="../slideLayouts/slideLayout709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828.xml"/><Relationship Id="rId21" Type="http://schemas.openxmlformats.org/officeDocument/2006/relationships/slideLayout" Target="../slideLayouts/slideLayout732.xml"/><Relationship Id="rId42" Type="http://schemas.openxmlformats.org/officeDocument/2006/relationships/slideLayout" Target="../slideLayouts/slideLayout753.xml"/><Relationship Id="rId63" Type="http://schemas.openxmlformats.org/officeDocument/2006/relationships/slideLayout" Target="../slideLayouts/slideLayout774.xml"/><Relationship Id="rId84" Type="http://schemas.openxmlformats.org/officeDocument/2006/relationships/slideLayout" Target="../slideLayouts/slideLayout795.xml"/><Relationship Id="rId138" Type="http://schemas.openxmlformats.org/officeDocument/2006/relationships/slideLayout" Target="../slideLayouts/slideLayout849.xml"/><Relationship Id="rId159" Type="http://schemas.openxmlformats.org/officeDocument/2006/relationships/slideLayout" Target="../slideLayouts/slideLayout870.xml"/><Relationship Id="rId107" Type="http://schemas.openxmlformats.org/officeDocument/2006/relationships/slideLayout" Target="../slideLayouts/slideLayout818.xml"/><Relationship Id="rId11" Type="http://schemas.openxmlformats.org/officeDocument/2006/relationships/slideLayout" Target="../slideLayouts/slideLayout722.xml"/><Relationship Id="rId32" Type="http://schemas.openxmlformats.org/officeDocument/2006/relationships/slideLayout" Target="../slideLayouts/slideLayout743.xml"/><Relationship Id="rId53" Type="http://schemas.openxmlformats.org/officeDocument/2006/relationships/slideLayout" Target="../slideLayouts/slideLayout764.xml"/><Relationship Id="rId74" Type="http://schemas.openxmlformats.org/officeDocument/2006/relationships/slideLayout" Target="../slideLayouts/slideLayout785.xml"/><Relationship Id="rId128" Type="http://schemas.openxmlformats.org/officeDocument/2006/relationships/slideLayout" Target="../slideLayouts/slideLayout839.xml"/><Relationship Id="rId149" Type="http://schemas.openxmlformats.org/officeDocument/2006/relationships/slideLayout" Target="../slideLayouts/slideLayout860.xml"/><Relationship Id="rId5" Type="http://schemas.openxmlformats.org/officeDocument/2006/relationships/slideLayout" Target="../slideLayouts/slideLayout716.xml"/><Relationship Id="rId95" Type="http://schemas.openxmlformats.org/officeDocument/2006/relationships/slideLayout" Target="../slideLayouts/slideLayout806.xml"/><Relationship Id="rId160" Type="http://schemas.openxmlformats.org/officeDocument/2006/relationships/slideLayout" Target="../slideLayouts/slideLayout871.xml"/><Relationship Id="rId22" Type="http://schemas.openxmlformats.org/officeDocument/2006/relationships/slideLayout" Target="../slideLayouts/slideLayout733.xml"/><Relationship Id="rId43" Type="http://schemas.openxmlformats.org/officeDocument/2006/relationships/slideLayout" Target="../slideLayouts/slideLayout754.xml"/><Relationship Id="rId64" Type="http://schemas.openxmlformats.org/officeDocument/2006/relationships/slideLayout" Target="../slideLayouts/slideLayout775.xml"/><Relationship Id="rId118" Type="http://schemas.openxmlformats.org/officeDocument/2006/relationships/slideLayout" Target="../slideLayouts/slideLayout829.xml"/><Relationship Id="rId139" Type="http://schemas.openxmlformats.org/officeDocument/2006/relationships/slideLayout" Target="../slideLayouts/slideLayout850.xml"/><Relationship Id="rId85" Type="http://schemas.openxmlformats.org/officeDocument/2006/relationships/slideLayout" Target="../slideLayouts/slideLayout796.xml"/><Relationship Id="rId150" Type="http://schemas.openxmlformats.org/officeDocument/2006/relationships/slideLayout" Target="../slideLayouts/slideLayout861.xml"/><Relationship Id="rId12" Type="http://schemas.openxmlformats.org/officeDocument/2006/relationships/slideLayout" Target="../slideLayouts/slideLayout723.xml"/><Relationship Id="rId17" Type="http://schemas.openxmlformats.org/officeDocument/2006/relationships/slideLayout" Target="../slideLayouts/slideLayout728.xml"/><Relationship Id="rId33" Type="http://schemas.openxmlformats.org/officeDocument/2006/relationships/slideLayout" Target="../slideLayouts/slideLayout744.xml"/><Relationship Id="rId38" Type="http://schemas.openxmlformats.org/officeDocument/2006/relationships/slideLayout" Target="../slideLayouts/slideLayout749.xml"/><Relationship Id="rId59" Type="http://schemas.openxmlformats.org/officeDocument/2006/relationships/slideLayout" Target="../slideLayouts/slideLayout770.xml"/><Relationship Id="rId103" Type="http://schemas.openxmlformats.org/officeDocument/2006/relationships/slideLayout" Target="../slideLayouts/slideLayout814.xml"/><Relationship Id="rId108" Type="http://schemas.openxmlformats.org/officeDocument/2006/relationships/slideLayout" Target="../slideLayouts/slideLayout819.xml"/><Relationship Id="rId124" Type="http://schemas.openxmlformats.org/officeDocument/2006/relationships/slideLayout" Target="../slideLayouts/slideLayout835.xml"/><Relationship Id="rId129" Type="http://schemas.openxmlformats.org/officeDocument/2006/relationships/slideLayout" Target="../slideLayouts/slideLayout840.xml"/><Relationship Id="rId54" Type="http://schemas.openxmlformats.org/officeDocument/2006/relationships/slideLayout" Target="../slideLayouts/slideLayout765.xml"/><Relationship Id="rId70" Type="http://schemas.openxmlformats.org/officeDocument/2006/relationships/slideLayout" Target="../slideLayouts/slideLayout781.xml"/><Relationship Id="rId75" Type="http://schemas.openxmlformats.org/officeDocument/2006/relationships/slideLayout" Target="../slideLayouts/slideLayout786.xml"/><Relationship Id="rId91" Type="http://schemas.openxmlformats.org/officeDocument/2006/relationships/slideLayout" Target="../slideLayouts/slideLayout802.xml"/><Relationship Id="rId96" Type="http://schemas.openxmlformats.org/officeDocument/2006/relationships/slideLayout" Target="../slideLayouts/slideLayout807.xml"/><Relationship Id="rId140" Type="http://schemas.openxmlformats.org/officeDocument/2006/relationships/slideLayout" Target="../slideLayouts/slideLayout851.xml"/><Relationship Id="rId145" Type="http://schemas.openxmlformats.org/officeDocument/2006/relationships/slideLayout" Target="../slideLayouts/slideLayout856.xml"/><Relationship Id="rId161" Type="http://schemas.openxmlformats.org/officeDocument/2006/relationships/slideLayout" Target="../slideLayouts/slideLayout872.xml"/><Relationship Id="rId1" Type="http://schemas.openxmlformats.org/officeDocument/2006/relationships/slideLayout" Target="../slideLayouts/slideLayout712.xml"/><Relationship Id="rId6" Type="http://schemas.openxmlformats.org/officeDocument/2006/relationships/slideLayout" Target="../slideLayouts/slideLayout717.xml"/><Relationship Id="rId23" Type="http://schemas.openxmlformats.org/officeDocument/2006/relationships/slideLayout" Target="../slideLayouts/slideLayout734.xml"/><Relationship Id="rId28" Type="http://schemas.openxmlformats.org/officeDocument/2006/relationships/slideLayout" Target="../slideLayouts/slideLayout739.xml"/><Relationship Id="rId49" Type="http://schemas.openxmlformats.org/officeDocument/2006/relationships/slideLayout" Target="../slideLayouts/slideLayout760.xml"/><Relationship Id="rId114" Type="http://schemas.openxmlformats.org/officeDocument/2006/relationships/slideLayout" Target="../slideLayouts/slideLayout825.xml"/><Relationship Id="rId119" Type="http://schemas.openxmlformats.org/officeDocument/2006/relationships/slideLayout" Target="../slideLayouts/slideLayout830.xml"/><Relationship Id="rId44" Type="http://schemas.openxmlformats.org/officeDocument/2006/relationships/slideLayout" Target="../slideLayouts/slideLayout755.xml"/><Relationship Id="rId60" Type="http://schemas.openxmlformats.org/officeDocument/2006/relationships/slideLayout" Target="../slideLayouts/slideLayout771.xml"/><Relationship Id="rId65" Type="http://schemas.openxmlformats.org/officeDocument/2006/relationships/slideLayout" Target="../slideLayouts/slideLayout776.xml"/><Relationship Id="rId81" Type="http://schemas.openxmlformats.org/officeDocument/2006/relationships/slideLayout" Target="../slideLayouts/slideLayout792.xml"/><Relationship Id="rId86" Type="http://schemas.openxmlformats.org/officeDocument/2006/relationships/slideLayout" Target="../slideLayouts/slideLayout797.xml"/><Relationship Id="rId130" Type="http://schemas.openxmlformats.org/officeDocument/2006/relationships/slideLayout" Target="../slideLayouts/slideLayout841.xml"/><Relationship Id="rId135" Type="http://schemas.openxmlformats.org/officeDocument/2006/relationships/slideLayout" Target="../slideLayouts/slideLayout846.xml"/><Relationship Id="rId151" Type="http://schemas.openxmlformats.org/officeDocument/2006/relationships/slideLayout" Target="../slideLayouts/slideLayout862.xml"/><Relationship Id="rId156" Type="http://schemas.openxmlformats.org/officeDocument/2006/relationships/slideLayout" Target="../slideLayouts/slideLayout867.xml"/><Relationship Id="rId13" Type="http://schemas.openxmlformats.org/officeDocument/2006/relationships/slideLayout" Target="../slideLayouts/slideLayout724.xml"/><Relationship Id="rId18" Type="http://schemas.openxmlformats.org/officeDocument/2006/relationships/slideLayout" Target="../slideLayouts/slideLayout729.xml"/><Relationship Id="rId39" Type="http://schemas.openxmlformats.org/officeDocument/2006/relationships/slideLayout" Target="../slideLayouts/slideLayout750.xml"/><Relationship Id="rId109" Type="http://schemas.openxmlformats.org/officeDocument/2006/relationships/slideLayout" Target="../slideLayouts/slideLayout820.xml"/><Relationship Id="rId34" Type="http://schemas.openxmlformats.org/officeDocument/2006/relationships/slideLayout" Target="../slideLayouts/slideLayout745.xml"/><Relationship Id="rId50" Type="http://schemas.openxmlformats.org/officeDocument/2006/relationships/slideLayout" Target="../slideLayouts/slideLayout761.xml"/><Relationship Id="rId55" Type="http://schemas.openxmlformats.org/officeDocument/2006/relationships/slideLayout" Target="../slideLayouts/slideLayout766.xml"/><Relationship Id="rId76" Type="http://schemas.openxmlformats.org/officeDocument/2006/relationships/slideLayout" Target="../slideLayouts/slideLayout787.xml"/><Relationship Id="rId97" Type="http://schemas.openxmlformats.org/officeDocument/2006/relationships/slideLayout" Target="../slideLayouts/slideLayout808.xml"/><Relationship Id="rId104" Type="http://schemas.openxmlformats.org/officeDocument/2006/relationships/slideLayout" Target="../slideLayouts/slideLayout815.xml"/><Relationship Id="rId120" Type="http://schemas.openxmlformats.org/officeDocument/2006/relationships/slideLayout" Target="../slideLayouts/slideLayout831.xml"/><Relationship Id="rId125" Type="http://schemas.openxmlformats.org/officeDocument/2006/relationships/slideLayout" Target="../slideLayouts/slideLayout836.xml"/><Relationship Id="rId141" Type="http://schemas.openxmlformats.org/officeDocument/2006/relationships/slideLayout" Target="../slideLayouts/slideLayout852.xml"/><Relationship Id="rId146" Type="http://schemas.openxmlformats.org/officeDocument/2006/relationships/slideLayout" Target="../slideLayouts/slideLayout857.xml"/><Relationship Id="rId7" Type="http://schemas.openxmlformats.org/officeDocument/2006/relationships/slideLayout" Target="../slideLayouts/slideLayout718.xml"/><Relationship Id="rId71" Type="http://schemas.openxmlformats.org/officeDocument/2006/relationships/slideLayout" Target="../slideLayouts/slideLayout782.xml"/><Relationship Id="rId92" Type="http://schemas.openxmlformats.org/officeDocument/2006/relationships/slideLayout" Target="../slideLayouts/slideLayout803.xml"/><Relationship Id="rId162" Type="http://schemas.openxmlformats.org/officeDocument/2006/relationships/slideLayout" Target="../slideLayouts/slideLayout873.xml"/><Relationship Id="rId2" Type="http://schemas.openxmlformats.org/officeDocument/2006/relationships/slideLayout" Target="../slideLayouts/slideLayout713.xml"/><Relationship Id="rId29" Type="http://schemas.openxmlformats.org/officeDocument/2006/relationships/slideLayout" Target="../slideLayouts/slideLayout740.xml"/><Relationship Id="rId24" Type="http://schemas.openxmlformats.org/officeDocument/2006/relationships/slideLayout" Target="../slideLayouts/slideLayout735.xml"/><Relationship Id="rId40" Type="http://schemas.openxmlformats.org/officeDocument/2006/relationships/slideLayout" Target="../slideLayouts/slideLayout751.xml"/><Relationship Id="rId45" Type="http://schemas.openxmlformats.org/officeDocument/2006/relationships/slideLayout" Target="../slideLayouts/slideLayout756.xml"/><Relationship Id="rId66" Type="http://schemas.openxmlformats.org/officeDocument/2006/relationships/slideLayout" Target="../slideLayouts/slideLayout777.xml"/><Relationship Id="rId87" Type="http://schemas.openxmlformats.org/officeDocument/2006/relationships/slideLayout" Target="../slideLayouts/slideLayout798.xml"/><Relationship Id="rId110" Type="http://schemas.openxmlformats.org/officeDocument/2006/relationships/slideLayout" Target="../slideLayouts/slideLayout821.xml"/><Relationship Id="rId115" Type="http://schemas.openxmlformats.org/officeDocument/2006/relationships/slideLayout" Target="../slideLayouts/slideLayout826.xml"/><Relationship Id="rId131" Type="http://schemas.openxmlformats.org/officeDocument/2006/relationships/slideLayout" Target="../slideLayouts/slideLayout842.xml"/><Relationship Id="rId136" Type="http://schemas.openxmlformats.org/officeDocument/2006/relationships/slideLayout" Target="../slideLayouts/slideLayout847.xml"/><Relationship Id="rId157" Type="http://schemas.openxmlformats.org/officeDocument/2006/relationships/slideLayout" Target="../slideLayouts/slideLayout868.xml"/><Relationship Id="rId61" Type="http://schemas.openxmlformats.org/officeDocument/2006/relationships/slideLayout" Target="../slideLayouts/slideLayout772.xml"/><Relationship Id="rId82" Type="http://schemas.openxmlformats.org/officeDocument/2006/relationships/slideLayout" Target="../slideLayouts/slideLayout793.xml"/><Relationship Id="rId152" Type="http://schemas.openxmlformats.org/officeDocument/2006/relationships/slideLayout" Target="../slideLayouts/slideLayout863.xml"/><Relationship Id="rId19" Type="http://schemas.openxmlformats.org/officeDocument/2006/relationships/slideLayout" Target="../slideLayouts/slideLayout730.xml"/><Relationship Id="rId14" Type="http://schemas.openxmlformats.org/officeDocument/2006/relationships/slideLayout" Target="../slideLayouts/slideLayout725.xml"/><Relationship Id="rId30" Type="http://schemas.openxmlformats.org/officeDocument/2006/relationships/slideLayout" Target="../slideLayouts/slideLayout741.xml"/><Relationship Id="rId35" Type="http://schemas.openxmlformats.org/officeDocument/2006/relationships/slideLayout" Target="../slideLayouts/slideLayout746.xml"/><Relationship Id="rId56" Type="http://schemas.openxmlformats.org/officeDocument/2006/relationships/slideLayout" Target="../slideLayouts/slideLayout767.xml"/><Relationship Id="rId77" Type="http://schemas.openxmlformats.org/officeDocument/2006/relationships/slideLayout" Target="../slideLayouts/slideLayout788.xml"/><Relationship Id="rId100" Type="http://schemas.openxmlformats.org/officeDocument/2006/relationships/slideLayout" Target="../slideLayouts/slideLayout811.xml"/><Relationship Id="rId105" Type="http://schemas.openxmlformats.org/officeDocument/2006/relationships/slideLayout" Target="../slideLayouts/slideLayout816.xml"/><Relationship Id="rId126" Type="http://schemas.openxmlformats.org/officeDocument/2006/relationships/slideLayout" Target="../slideLayouts/slideLayout837.xml"/><Relationship Id="rId147" Type="http://schemas.openxmlformats.org/officeDocument/2006/relationships/slideLayout" Target="../slideLayouts/slideLayout858.xml"/><Relationship Id="rId8" Type="http://schemas.openxmlformats.org/officeDocument/2006/relationships/slideLayout" Target="../slideLayouts/slideLayout719.xml"/><Relationship Id="rId51" Type="http://schemas.openxmlformats.org/officeDocument/2006/relationships/slideLayout" Target="../slideLayouts/slideLayout762.xml"/><Relationship Id="rId72" Type="http://schemas.openxmlformats.org/officeDocument/2006/relationships/slideLayout" Target="../slideLayouts/slideLayout783.xml"/><Relationship Id="rId93" Type="http://schemas.openxmlformats.org/officeDocument/2006/relationships/slideLayout" Target="../slideLayouts/slideLayout804.xml"/><Relationship Id="rId98" Type="http://schemas.openxmlformats.org/officeDocument/2006/relationships/slideLayout" Target="../slideLayouts/slideLayout809.xml"/><Relationship Id="rId121" Type="http://schemas.openxmlformats.org/officeDocument/2006/relationships/slideLayout" Target="../slideLayouts/slideLayout832.xml"/><Relationship Id="rId142" Type="http://schemas.openxmlformats.org/officeDocument/2006/relationships/slideLayout" Target="../slideLayouts/slideLayout853.xml"/><Relationship Id="rId163" Type="http://schemas.openxmlformats.org/officeDocument/2006/relationships/theme" Target="../theme/theme4.xml"/><Relationship Id="rId3" Type="http://schemas.openxmlformats.org/officeDocument/2006/relationships/slideLayout" Target="../slideLayouts/slideLayout714.xml"/><Relationship Id="rId25" Type="http://schemas.openxmlformats.org/officeDocument/2006/relationships/slideLayout" Target="../slideLayouts/slideLayout736.xml"/><Relationship Id="rId46" Type="http://schemas.openxmlformats.org/officeDocument/2006/relationships/slideLayout" Target="../slideLayouts/slideLayout757.xml"/><Relationship Id="rId67" Type="http://schemas.openxmlformats.org/officeDocument/2006/relationships/slideLayout" Target="../slideLayouts/slideLayout778.xml"/><Relationship Id="rId116" Type="http://schemas.openxmlformats.org/officeDocument/2006/relationships/slideLayout" Target="../slideLayouts/slideLayout827.xml"/><Relationship Id="rId137" Type="http://schemas.openxmlformats.org/officeDocument/2006/relationships/slideLayout" Target="../slideLayouts/slideLayout848.xml"/><Relationship Id="rId158" Type="http://schemas.openxmlformats.org/officeDocument/2006/relationships/slideLayout" Target="../slideLayouts/slideLayout869.xml"/><Relationship Id="rId20" Type="http://schemas.openxmlformats.org/officeDocument/2006/relationships/slideLayout" Target="../slideLayouts/slideLayout731.xml"/><Relationship Id="rId41" Type="http://schemas.openxmlformats.org/officeDocument/2006/relationships/slideLayout" Target="../slideLayouts/slideLayout752.xml"/><Relationship Id="rId62" Type="http://schemas.openxmlformats.org/officeDocument/2006/relationships/slideLayout" Target="../slideLayouts/slideLayout773.xml"/><Relationship Id="rId83" Type="http://schemas.openxmlformats.org/officeDocument/2006/relationships/slideLayout" Target="../slideLayouts/slideLayout794.xml"/><Relationship Id="rId88" Type="http://schemas.openxmlformats.org/officeDocument/2006/relationships/slideLayout" Target="../slideLayouts/slideLayout799.xml"/><Relationship Id="rId111" Type="http://schemas.openxmlformats.org/officeDocument/2006/relationships/slideLayout" Target="../slideLayouts/slideLayout822.xml"/><Relationship Id="rId132" Type="http://schemas.openxmlformats.org/officeDocument/2006/relationships/slideLayout" Target="../slideLayouts/slideLayout843.xml"/><Relationship Id="rId153" Type="http://schemas.openxmlformats.org/officeDocument/2006/relationships/slideLayout" Target="../slideLayouts/slideLayout864.xml"/><Relationship Id="rId15" Type="http://schemas.openxmlformats.org/officeDocument/2006/relationships/slideLayout" Target="../slideLayouts/slideLayout726.xml"/><Relationship Id="rId36" Type="http://schemas.openxmlformats.org/officeDocument/2006/relationships/slideLayout" Target="../slideLayouts/slideLayout747.xml"/><Relationship Id="rId57" Type="http://schemas.openxmlformats.org/officeDocument/2006/relationships/slideLayout" Target="../slideLayouts/slideLayout768.xml"/><Relationship Id="rId106" Type="http://schemas.openxmlformats.org/officeDocument/2006/relationships/slideLayout" Target="../slideLayouts/slideLayout817.xml"/><Relationship Id="rId127" Type="http://schemas.openxmlformats.org/officeDocument/2006/relationships/slideLayout" Target="../slideLayouts/slideLayout838.xml"/><Relationship Id="rId10" Type="http://schemas.openxmlformats.org/officeDocument/2006/relationships/slideLayout" Target="../slideLayouts/slideLayout721.xml"/><Relationship Id="rId31" Type="http://schemas.openxmlformats.org/officeDocument/2006/relationships/slideLayout" Target="../slideLayouts/slideLayout742.xml"/><Relationship Id="rId52" Type="http://schemas.openxmlformats.org/officeDocument/2006/relationships/slideLayout" Target="../slideLayouts/slideLayout763.xml"/><Relationship Id="rId73" Type="http://schemas.openxmlformats.org/officeDocument/2006/relationships/slideLayout" Target="../slideLayouts/slideLayout784.xml"/><Relationship Id="rId78" Type="http://schemas.openxmlformats.org/officeDocument/2006/relationships/slideLayout" Target="../slideLayouts/slideLayout789.xml"/><Relationship Id="rId94" Type="http://schemas.openxmlformats.org/officeDocument/2006/relationships/slideLayout" Target="../slideLayouts/slideLayout805.xml"/><Relationship Id="rId99" Type="http://schemas.openxmlformats.org/officeDocument/2006/relationships/slideLayout" Target="../slideLayouts/slideLayout810.xml"/><Relationship Id="rId101" Type="http://schemas.openxmlformats.org/officeDocument/2006/relationships/slideLayout" Target="../slideLayouts/slideLayout812.xml"/><Relationship Id="rId122" Type="http://schemas.openxmlformats.org/officeDocument/2006/relationships/slideLayout" Target="../slideLayouts/slideLayout833.xml"/><Relationship Id="rId143" Type="http://schemas.openxmlformats.org/officeDocument/2006/relationships/slideLayout" Target="../slideLayouts/slideLayout854.xml"/><Relationship Id="rId148" Type="http://schemas.openxmlformats.org/officeDocument/2006/relationships/slideLayout" Target="../slideLayouts/slideLayout859.xml"/><Relationship Id="rId4" Type="http://schemas.openxmlformats.org/officeDocument/2006/relationships/slideLayout" Target="../slideLayouts/slideLayout715.xml"/><Relationship Id="rId9" Type="http://schemas.openxmlformats.org/officeDocument/2006/relationships/slideLayout" Target="../slideLayouts/slideLayout720.xml"/><Relationship Id="rId26" Type="http://schemas.openxmlformats.org/officeDocument/2006/relationships/slideLayout" Target="../slideLayouts/slideLayout737.xml"/><Relationship Id="rId47" Type="http://schemas.openxmlformats.org/officeDocument/2006/relationships/slideLayout" Target="../slideLayouts/slideLayout758.xml"/><Relationship Id="rId68" Type="http://schemas.openxmlformats.org/officeDocument/2006/relationships/slideLayout" Target="../slideLayouts/slideLayout779.xml"/><Relationship Id="rId89" Type="http://schemas.openxmlformats.org/officeDocument/2006/relationships/slideLayout" Target="../slideLayouts/slideLayout800.xml"/><Relationship Id="rId112" Type="http://schemas.openxmlformats.org/officeDocument/2006/relationships/slideLayout" Target="../slideLayouts/slideLayout823.xml"/><Relationship Id="rId133" Type="http://schemas.openxmlformats.org/officeDocument/2006/relationships/slideLayout" Target="../slideLayouts/slideLayout844.xml"/><Relationship Id="rId154" Type="http://schemas.openxmlformats.org/officeDocument/2006/relationships/slideLayout" Target="../slideLayouts/slideLayout865.xml"/><Relationship Id="rId16" Type="http://schemas.openxmlformats.org/officeDocument/2006/relationships/slideLayout" Target="../slideLayouts/slideLayout727.xml"/><Relationship Id="rId37" Type="http://schemas.openxmlformats.org/officeDocument/2006/relationships/slideLayout" Target="../slideLayouts/slideLayout748.xml"/><Relationship Id="rId58" Type="http://schemas.openxmlformats.org/officeDocument/2006/relationships/slideLayout" Target="../slideLayouts/slideLayout769.xml"/><Relationship Id="rId79" Type="http://schemas.openxmlformats.org/officeDocument/2006/relationships/slideLayout" Target="../slideLayouts/slideLayout790.xml"/><Relationship Id="rId102" Type="http://schemas.openxmlformats.org/officeDocument/2006/relationships/slideLayout" Target="../slideLayouts/slideLayout813.xml"/><Relationship Id="rId123" Type="http://schemas.openxmlformats.org/officeDocument/2006/relationships/slideLayout" Target="../slideLayouts/slideLayout834.xml"/><Relationship Id="rId144" Type="http://schemas.openxmlformats.org/officeDocument/2006/relationships/slideLayout" Target="../slideLayouts/slideLayout855.xml"/><Relationship Id="rId90" Type="http://schemas.openxmlformats.org/officeDocument/2006/relationships/slideLayout" Target="../slideLayouts/slideLayout801.xml"/><Relationship Id="rId27" Type="http://schemas.openxmlformats.org/officeDocument/2006/relationships/slideLayout" Target="../slideLayouts/slideLayout738.xml"/><Relationship Id="rId48" Type="http://schemas.openxmlformats.org/officeDocument/2006/relationships/slideLayout" Target="../slideLayouts/slideLayout759.xml"/><Relationship Id="rId69" Type="http://schemas.openxmlformats.org/officeDocument/2006/relationships/slideLayout" Target="../slideLayouts/slideLayout780.xml"/><Relationship Id="rId113" Type="http://schemas.openxmlformats.org/officeDocument/2006/relationships/slideLayout" Target="../slideLayouts/slideLayout824.xml"/><Relationship Id="rId134" Type="http://schemas.openxmlformats.org/officeDocument/2006/relationships/slideLayout" Target="../slideLayouts/slideLayout845.xml"/><Relationship Id="rId80" Type="http://schemas.openxmlformats.org/officeDocument/2006/relationships/slideLayout" Target="../slideLayouts/slideLayout791.xml"/><Relationship Id="rId155" Type="http://schemas.openxmlformats.org/officeDocument/2006/relationships/slideLayout" Target="../slideLayouts/slideLayout86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1.xml"/><Relationship Id="rId3" Type="http://schemas.openxmlformats.org/officeDocument/2006/relationships/slideLayout" Target="../slideLayouts/slideLayout876.xml"/><Relationship Id="rId7" Type="http://schemas.openxmlformats.org/officeDocument/2006/relationships/slideLayout" Target="../slideLayouts/slideLayout88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75.xml"/><Relationship Id="rId1" Type="http://schemas.openxmlformats.org/officeDocument/2006/relationships/slideLayout" Target="../slideLayouts/slideLayout874.xml"/><Relationship Id="rId6" Type="http://schemas.openxmlformats.org/officeDocument/2006/relationships/slideLayout" Target="../slideLayouts/slideLayout879.xml"/><Relationship Id="rId11" Type="http://schemas.openxmlformats.org/officeDocument/2006/relationships/slideLayout" Target="../slideLayouts/slideLayout884.xml"/><Relationship Id="rId5" Type="http://schemas.openxmlformats.org/officeDocument/2006/relationships/slideLayout" Target="../slideLayouts/slideLayout878.xml"/><Relationship Id="rId10" Type="http://schemas.openxmlformats.org/officeDocument/2006/relationships/slideLayout" Target="../slideLayouts/slideLayout883.xml"/><Relationship Id="rId4" Type="http://schemas.openxmlformats.org/officeDocument/2006/relationships/slideLayout" Target="../slideLayouts/slideLayout877.xml"/><Relationship Id="rId9" Type="http://schemas.openxmlformats.org/officeDocument/2006/relationships/slideLayout" Target="../slideLayouts/slideLayout8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2.xml"/><Relationship Id="rId3" Type="http://schemas.openxmlformats.org/officeDocument/2006/relationships/slideLayout" Target="../slideLayouts/slideLayout887.xml"/><Relationship Id="rId7" Type="http://schemas.openxmlformats.org/officeDocument/2006/relationships/slideLayout" Target="../slideLayouts/slideLayout89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886.xml"/><Relationship Id="rId1" Type="http://schemas.openxmlformats.org/officeDocument/2006/relationships/slideLayout" Target="../slideLayouts/slideLayout885.xml"/><Relationship Id="rId6" Type="http://schemas.openxmlformats.org/officeDocument/2006/relationships/slideLayout" Target="../slideLayouts/slideLayout890.xml"/><Relationship Id="rId11" Type="http://schemas.openxmlformats.org/officeDocument/2006/relationships/slideLayout" Target="../slideLayouts/slideLayout895.xml"/><Relationship Id="rId5" Type="http://schemas.openxmlformats.org/officeDocument/2006/relationships/slideLayout" Target="../slideLayouts/slideLayout889.xml"/><Relationship Id="rId10" Type="http://schemas.openxmlformats.org/officeDocument/2006/relationships/slideLayout" Target="../slideLayouts/slideLayout894.xml"/><Relationship Id="rId4" Type="http://schemas.openxmlformats.org/officeDocument/2006/relationships/slideLayout" Target="../slideLayouts/slideLayout888.xml"/><Relationship Id="rId9" Type="http://schemas.openxmlformats.org/officeDocument/2006/relationships/slideLayout" Target="../slideLayouts/slideLayout893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12.xml"/><Relationship Id="rId21" Type="http://schemas.openxmlformats.org/officeDocument/2006/relationships/slideLayout" Target="../slideLayouts/slideLayout916.xml"/><Relationship Id="rId63" Type="http://schemas.openxmlformats.org/officeDocument/2006/relationships/slideLayout" Target="../slideLayouts/slideLayout958.xml"/><Relationship Id="rId159" Type="http://schemas.openxmlformats.org/officeDocument/2006/relationships/slideLayout" Target="../slideLayouts/slideLayout1054.xml"/><Relationship Id="rId170" Type="http://schemas.openxmlformats.org/officeDocument/2006/relationships/slideLayout" Target="../slideLayouts/slideLayout1065.xml"/><Relationship Id="rId226" Type="http://schemas.openxmlformats.org/officeDocument/2006/relationships/slideLayout" Target="../slideLayouts/slideLayout1121.xml"/><Relationship Id="rId268" Type="http://schemas.openxmlformats.org/officeDocument/2006/relationships/slideLayout" Target="../slideLayouts/slideLayout1163.xml"/><Relationship Id="rId32" Type="http://schemas.openxmlformats.org/officeDocument/2006/relationships/slideLayout" Target="../slideLayouts/slideLayout927.xml"/><Relationship Id="rId74" Type="http://schemas.openxmlformats.org/officeDocument/2006/relationships/slideLayout" Target="../slideLayouts/slideLayout969.xml"/><Relationship Id="rId128" Type="http://schemas.openxmlformats.org/officeDocument/2006/relationships/slideLayout" Target="../slideLayouts/slideLayout1023.xml"/><Relationship Id="rId5" Type="http://schemas.openxmlformats.org/officeDocument/2006/relationships/slideLayout" Target="../slideLayouts/slideLayout900.xml"/><Relationship Id="rId95" Type="http://schemas.openxmlformats.org/officeDocument/2006/relationships/slideLayout" Target="../slideLayouts/slideLayout990.xml"/><Relationship Id="rId160" Type="http://schemas.openxmlformats.org/officeDocument/2006/relationships/slideLayout" Target="../slideLayouts/slideLayout1055.xml"/><Relationship Id="rId181" Type="http://schemas.openxmlformats.org/officeDocument/2006/relationships/slideLayout" Target="../slideLayouts/slideLayout1076.xml"/><Relationship Id="rId216" Type="http://schemas.openxmlformats.org/officeDocument/2006/relationships/slideLayout" Target="../slideLayouts/slideLayout1111.xml"/><Relationship Id="rId237" Type="http://schemas.openxmlformats.org/officeDocument/2006/relationships/slideLayout" Target="../slideLayouts/slideLayout1132.xml"/><Relationship Id="rId258" Type="http://schemas.openxmlformats.org/officeDocument/2006/relationships/slideLayout" Target="../slideLayouts/slideLayout1153.xml"/><Relationship Id="rId22" Type="http://schemas.openxmlformats.org/officeDocument/2006/relationships/slideLayout" Target="../slideLayouts/slideLayout917.xml"/><Relationship Id="rId43" Type="http://schemas.openxmlformats.org/officeDocument/2006/relationships/slideLayout" Target="../slideLayouts/slideLayout938.xml"/><Relationship Id="rId64" Type="http://schemas.openxmlformats.org/officeDocument/2006/relationships/slideLayout" Target="../slideLayouts/slideLayout959.xml"/><Relationship Id="rId118" Type="http://schemas.openxmlformats.org/officeDocument/2006/relationships/slideLayout" Target="../slideLayouts/slideLayout1013.xml"/><Relationship Id="rId139" Type="http://schemas.openxmlformats.org/officeDocument/2006/relationships/slideLayout" Target="../slideLayouts/slideLayout1034.xml"/><Relationship Id="rId85" Type="http://schemas.openxmlformats.org/officeDocument/2006/relationships/slideLayout" Target="../slideLayouts/slideLayout980.xml"/><Relationship Id="rId150" Type="http://schemas.openxmlformats.org/officeDocument/2006/relationships/slideLayout" Target="../slideLayouts/slideLayout1045.xml"/><Relationship Id="rId171" Type="http://schemas.openxmlformats.org/officeDocument/2006/relationships/slideLayout" Target="../slideLayouts/slideLayout1066.xml"/><Relationship Id="rId192" Type="http://schemas.openxmlformats.org/officeDocument/2006/relationships/slideLayout" Target="../slideLayouts/slideLayout1087.xml"/><Relationship Id="rId206" Type="http://schemas.openxmlformats.org/officeDocument/2006/relationships/slideLayout" Target="../slideLayouts/slideLayout1101.xml"/><Relationship Id="rId227" Type="http://schemas.openxmlformats.org/officeDocument/2006/relationships/slideLayout" Target="../slideLayouts/slideLayout1122.xml"/><Relationship Id="rId248" Type="http://schemas.openxmlformats.org/officeDocument/2006/relationships/slideLayout" Target="../slideLayouts/slideLayout1143.xml"/><Relationship Id="rId269" Type="http://schemas.openxmlformats.org/officeDocument/2006/relationships/slideLayout" Target="../slideLayouts/slideLayout1164.xml"/><Relationship Id="rId12" Type="http://schemas.openxmlformats.org/officeDocument/2006/relationships/slideLayout" Target="../slideLayouts/slideLayout907.xml"/><Relationship Id="rId33" Type="http://schemas.openxmlformats.org/officeDocument/2006/relationships/slideLayout" Target="../slideLayouts/slideLayout928.xml"/><Relationship Id="rId108" Type="http://schemas.openxmlformats.org/officeDocument/2006/relationships/slideLayout" Target="../slideLayouts/slideLayout1003.xml"/><Relationship Id="rId129" Type="http://schemas.openxmlformats.org/officeDocument/2006/relationships/slideLayout" Target="../slideLayouts/slideLayout1024.xml"/><Relationship Id="rId54" Type="http://schemas.openxmlformats.org/officeDocument/2006/relationships/slideLayout" Target="../slideLayouts/slideLayout949.xml"/><Relationship Id="rId75" Type="http://schemas.openxmlformats.org/officeDocument/2006/relationships/slideLayout" Target="../slideLayouts/slideLayout970.xml"/><Relationship Id="rId96" Type="http://schemas.openxmlformats.org/officeDocument/2006/relationships/slideLayout" Target="../slideLayouts/slideLayout991.xml"/><Relationship Id="rId140" Type="http://schemas.openxmlformats.org/officeDocument/2006/relationships/slideLayout" Target="../slideLayouts/slideLayout1035.xml"/><Relationship Id="rId161" Type="http://schemas.openxmlformats.org/officeDocument/2006/relationships/slideLayout" Target="../slideLayouts/slideLayout1056.xml"/><Relationship Id="rId182" Type="http://schemas.openxmlformats.org/officeDocument/2006/relationships/slideLayout" Target="../slideLayouts/slideLayout1077.xml"/><Relationship Id="rId217" Type="http://schemas.openxmlformats.org/officeDocument/2006/relationships/slideLayout" Target="../slideLayouts/slideLayout1112.xml"/><Relationship Id="rId6" Type="http://schemas.openxmlformats.org/officeDocument/2006/relationships/slideLayout" Target="../slideLayouts/slideLayout901.xml"/><Relationship Id="rId238" Type="http://schemas.openxmlformats.org/officeDocument/2006/relationships/slideLayout" Target="../slideLayouts/slideLayout1133.xml"/><Relationship Id="rId259" Type="http://schemas.openxmlformats.org/officeDocument/2006/relationships/slideLayout" Target="../slideLayouts/slideLayout1154.xml"/><Relationship Id="rId23" Type="http://schemas.openxmlformats.org/officeDocument/2006/relationships/slideLayout" Target="../slideLayouts/slideLayout918.xml"/><Relationship Id="rId119" Type="http://schemas.openxmlformats.org/officeDocument/2006/relationships/slideLayout" Target="../slideLayouts/slideLayout1014.xml"/><Relationship Id="rId270" Type="http://schemas.openxmlformats.org/officeDocument/2006/relationships/slideLayout" Target="../slideLayouts/slideLayout1165.xml"/><Relationship Id="rId44" Type="http://schemas.openxmlformats.org/officeDocument/2006/relationships/slideLayout" Target="../slideLayouts/slideLayout939.xml"/><Relationship Id="rId65" Type="http://schemas.openxmlformats.org/officeDocument/2006/relationships/slideLayout" Target="../slideLayouts/slideLayout960.xml"/><Relationship Id="rId86" Type="http://schemas.openxmlformats.org/officeDocument/2006/relationships/slideLayout" Target="../slideLayouts/slideLayout981.xml"/><Relationship Id="rId130" Type="http://schemas.openxmlformats.org/officeDocument/2006/relationships/slideLayout" Target="../slideLayouts/slideLayout1025.xml"/><Relationship Id="rId151" Type="http://schemas.openxmlformats.org/officeDocument/2006/relationships/slideLayout" Target="../slideLayouts/slideLayout1046.xml"/><Relationship Id="rId172" Type="http://schemas.openxmlformats.org/officeDocument/2006/relationships/slideLayout" Target="../slideLayouts/slideLayout1067.xml"/><Relationship Id="rId193" Type="http://schemas.openxmlformats.org/officeDocument/2006/relationships/slideLayout" Target="../slideLayouts/slideLayout1088.xml"/><Relationship Id="rId207" Type="http://schemas.openxmlformats.org/officeDocument/2006/relationships/slideLayout" Target="../slideLayouts/slideLayout1102.xml"/><Relationship Id="rId228" Type="http://schemas.openxmlformats.org/officeDocument/2006/relationships/slideLayout" Target="../slideLayouts/slideLayout1123.xml"/><Relationship Id="rId249" Type="http://schemas.openxmlformats.org/officeDocument/2006/relationships/slideLayout" Target="../slideLayouts/slideLayout1144.xml"/><Relationship Id="rId13" Type="http://schemas.openxmlformats.org/officeDocument/2006/relationships/slideLayout" Target="../slideLayouts/slideLayout908.xml"/><Relationship Id="rId109" Type="http://schemas.openxmlformats.org/officeDocument/2006/relationships/slideLayout" Target="../slideLayouts/slideLayout1004.xml"/><Relationship Id="rId260" Type="http://schemas.openxmlformats.org/officeDocument/2006/relationships/slideLayout" Target="../slideLayouts/slideLayout1155.xml"/><Relationship Id="rId34" Type="http://schemas.openxmlformats.org/officeDocument/2006/relationships/slideLayout" Target="../slideLayouts/slideLayout929.xml"/><Relationship Id="rId55" Type="http://schemas.openxmlformats.org/officeDocument/2006/relationships/slideLayout" Target="../slideLayouts/slideLayout950.xml"/><Relationship Id="rId76" Type="http://schemas.openxmlformats.org/officeDocument/2006/relationships/slideLayout" Target="../slideLayouts/slideLayout971.xml"/><Relationship Id="rId97" Type="http://schemas.openxmlformats.org/officeDocument/2006/relationships/slideLayout" Target="../slideLayouts/slideLayout992.xml"/><Relationship Id="rId120" Type="http://schemas.openxmlformats.org/officeDocument/2006/relationships/slideLayout" Target="../slideLayouts/slideLayout1015.xml"/><Relationship Id="rId141" Type="http://schemas.openxmlformats.org/officeDocument/2006/relationships/slideLayout" Target="../slideLayouts/slideLayout1036.xml"/><Relationship Id="rId7" Type="http://schemas.openxmlformats.org/officeDocument/2006/relationships/slideLayout" Target="../slideLayouts/slideLayout902.xml"/><Relationship Id="rId162" Type="http://schemas.openxmlformats.org/officeDocument/2006/relationships/slideLayout" Target="../slideLayouts/slideLayout1057.xml"/><Relationship Id="rId183" Type="http://schemas.openxmlformats.org/officeDocument/2006/relationships/slideLayout" Target="../slideLayouts/slideLayout1078.xml"/><Relationship Id="rId218" Type="http://schemas.openxmlformats.org/officeDocument/2006/relationships/slideLayout" Target="../slideLayouts/slideLayout1113.xml"/><Relationship Id="rId239" Type="http://schemas.openxmlformats.org/officeDocument/2006/relationships/slideLayout" Target="../slideLayouts/slideLayout1134.xml"/><Relationship Id="rId250" Type="http://schemas.openxmlformats.org/officeDocument/2006/relationships/slideLayout" Target="../slideLayouts/slideLayout1145.xml"/><Relationship Id="rId271" Type="http://schemas.openxmlformats.org/officeDocument/2006/relationships/slideLayout" Target="../slideLayouts/slideLayout1166.xml"/><Relationship Id="rId24" Type="http://schemas.openxmlformats.org/officeDocument/2006/relationships/slideLayout" Target="../slideLayouts/slideLayout919.xml"/><Relationship Id="rId45" Type="http://schemas.openxmlformats.org/officeDocument/2006/relationships/slideLayout" Target="../slideLayouts/slideLayout940.xml"/><Relationship Id="rId66" Type="http://schemas.openxmlformats.org/officeDocument/2006/relationships/slideLayout" Target="../slideLayouts/slideLayout961.xml"/><Relationship Id="rId87" Type="http://schemas.openxmlformats.org/officeDocument/2006/relationships/slideLayout" Target="../slideLayouts/slideLayout982.xml"/><Relationship Id="rId110" Type="http://schemas.openxmlformats.org/officeDocument/2006/relationships/slideLayout" Target="../slideLayouts/slideLayout1005.xml"/><Relationship Id="rId131" Type="http://schemas.openxmlformats.org/officeDocument/2006/relationships/slideLayout" Target="../slideLayouts/slideLayout1026.xml"/><Relationship Id="rId152" Type="http://schemas.openxmlformats.org/officeDocument/2006/relationships/slideLayout" Target="../slideLayouts/slideLayout1047.xml"/><Relationship Id="rId173" Type="http://schemas.openxmlformats.org/officeDocument/2006/relationships/slideLayout" Target="../slideLayouts/slideLayout1068.xml"/><Relationship Id="rId194" Type="http://schemas.openxmlformats.org/officeDocument/2006/relationships/slideLayout" Target="../slideLayouts/slideLayout1089.xml"/><Relationship Id="rId208" Type="http://schemas.openxmlformats.org/officeDocument/2006/relationships/slideLayout" Target="../slideLayouts/slideLayout1103.xml"/><Relationship Id="rId229" Type="http://schemas.openxmlformats.org/officeDocument/2006/relationships/slideLayout" Target="../slideLayouts/slideLayout1124.xml"/><Relationship Id="rId240" Type="http://schemas.openxmlformats.org/officeDocument/2006/relationships/slideLayout" Target="../slideLayouts/slideLayout1135.xml"/><Relationship Id="rId261" Type="http://schemas.openxmlformats.org/officeDocument/2006/relationships/slideLayout" Target="../slideLayouts/slideLayout1156.xml"/><Relationship Id="rId14" Type="http://schemas.openxmlformats.org/officeDocument/2006/relationships/slideLayout" Target="../slideLayouts/slideLayout909.xml"/><Relationship Id="rId35" Type="http://schemas.openxmlformats.org/officeDocument/2006/relationships/slideLayout" Target="../slideLayouts/slideLayout930.xml"/><Relationship Id="rId56" Type="http://schemas.openxmlformats.org/officeDocument/2006/relationships/slideLayout" Target="../slideLayouts/slideLayout951.xml"/><Relationship Id="rId77" Type="http://schemas.openxmlformats.org/officeDocument/2006/relationships/slideLayout" Target="../slideLayouts/slideLayout972.xml"/><Relationship Id="rId100" Type="http://schemas.openxmlformats.org/officeDocument/2006/relationships/slideLayout" Target="../slideLayouts/slideLayout995.xml"/><Relationship Id="rId8" Type="http://schemas.openxmlformats.org/officeDocument/2006/relationships/slideLayout" Target="../slideLayouts/slideLayout903.xml"/><Relationship Id="rId98" Type="http://schemas.openxmlformats.org/officeDocument/2006/relationships/slideLayout" Target="../slideLayouts/slideLayout993.xml"/><Relationship Id="rId121" Type="http://schemas.openxmlformats.org/officeDocument/2006/relationships/slideLayout" Target="../slideLayouts/slideLayout1016.xml"/><Relationship Id="rId142" Type="http://schemas.openxmlformats.org/officeDocument/2006/relationships/slideLayout" Target="../slideLayouts/slideLayout1037.xml"/><Relationship Id="rId163" Type="http://schemas.openxmlformats.org/officeDocument/2006/relationships/slideLayout" Target="../slideLayouts/slideLayout1058.xml"/><Relationship Id="rId184" Type="http://schemas.openxmlformats.org/officeDocument/2006/relationships/slideLayout" Target="../slideLayouts/slideLayout1079.xml"/><Relationship Id="rId219" Type="http://schemas.openxmlformats.org/officeDocument/2006/relationships/slideLayout" Target="../slideLayouts/slideLayout1114.xml"/><Relationship Id="rId230" Type="http://schemas.openxmlformats.org/officeDocument/2006/relationships/slideLayout" Target="../slideLayouts/slideLayout1125.xml"/><Relationship Id="rId251" Type="http://schemas.openxmlformats.org/officeDocument/2006/relationships/slideLayout" Target="../slideLayouts/slideLayout1146.xml"/><Relationship Id="rId25" Type="http://schemas.openxmlformats.org/officeDocument/2006/relationships/slideLayout" Target="../slideLayouts/slideLayout920.xml"/><Relationship Id="rId46" Type="http://schemas.openxmlformats.org/officeDocument/2006/relationships/slideLayout" Target="../slideLayouts/slideLayout941.xml"/><Relationship Id="rId67" Type="http://schemas.openxmlformats.org/officeDocument/2006/relationships/slideLayout" Target="../slideLayouts/slideLayout962.xml"/><Relationship Id="rId272" Type="http://schemas.openxmlformats.org/officeDocument/2006/relationships/slideLayout" Target="../slideLayouts/slideLayout1167.xml"/><Relationship Id="rId88" Type="http://schemas.openxmlformats.org/officeDocument/2006/relationships/slideLayout" Target="../slideLayouts/slideLayout983.xml"/><Relationship Id="rId111" Type="http://schemas.openxmlformats.org/officeDocument/2006/relationships/slideLayout" Target="../slideLayouts/slideLayout1006.xml"/><Relationship Id="rId132" Type="http://schemas.openxmlformats.org/officeDocument/2006/relationships/slideLayout" Target="../slideLayouts/slideLayout1027.xml"/><Relationship Id="rId153" Type="http://schemas.openxmlformats.org/officeDocument/2006/relationships/slideLayout" Target="../slideLayouts/slideLayout1048.xml"/><Relationship Id="rId174" Type="http://schemas.openxmlformats.org/officeDocument/2006/relationships/slideLayout" Target="../slideLayouts/slideLayout1069.xml"/><Relationship Id="rId195" Type="http://schemas.openxmlformats.org/officeDocument/2006/relationships/slideLayout" Target="../slideLayouts/slideLayout1090.xml"/><Relationship Id="rId209" Type="http://schemas.openxmlformats.org/officeDocument/2006/relationships/slideLayout" Target="../slideLayouts/slideLayout1104.xml"/><Relationship Id="rId220" Type="http://schemas.openxmlformats.org/officeDocument/2006/relationships/slideLayout" Target="../slideLayouts/slideLayout1115.xml"/><Relationship Id="rId241" Type="http://schemas.openxmlformats.org/officeDocument/2006/relationships/slideLayout" Target="../slideLayouts/slideLayout1136.xml"/><Relationship Id="rId15" Type="http://schemas.openxmlformats.org/officeDocument/2006/relationships/slideLayout" Target="../slideLayouts/slideLayout910.xml"/><Relationship Id="rId36" Type="http://schemas.openxmlformats.org/officeDocument/2006/relationships/slideLayout" Target="../slideLayouts/slideLayout931.xml"/><Relationship Id="rId57" Type="http://schemas.openxmlformats.org/officeDocument/2006/relationships/slideLayout" Target="../slideLayouts/slideLayout952.xml"/><Relationship Id="rId262" Type="http://schemas.openxmlformats.org/officeDocument/2006/relationships/slideLayout" Target="../slideLayouts/slideLayout1157.xml"/><Relationship Id="rId78" Type="http://schemas.openxmlformats.org/officeDocument/2006/relationships/slideLayout" Target="../slideLayouts/slideLayout973.xml"/><Relationship Id="rId99" Type="http://schemas.openxmlformats.org/officeDocument/2006/relationships/slideLayout" Target="../slideLayouts/slideLayout994.xml"/><Relationship Id="rId101" Type="http://schemas.openxmlformats.org/officeDocument/2006/relationships/slideLayout" Target="../slideLayouts/slideLayout996.xml"/><Relationship Id="rId122" Type="http://schemas.openxmlformats.org/officeDocument/2006/relationships/slideLayout" Target="../slideLayouts/slideLayout1017.xml"/><Relationship Id="rId143" Type="http://schemas.openxmlformats.org/officeDocument/2006/relationships/slideLayout" Target="../slideLayouts/slideLayout1038.xml"/><Relationship Id="rId164" Type="http://schemas.openxmlformats.org/officeDocument/2006/relationships/slideLayout" Target="../slideLayouts/slideLayout1059.xml"/><Relationship Id="rId185" Type="http://schemas.openxmlformats.org/officeDocument/2006/relationships/slideLayout" Target="../slideLayouts/slideLayout1080.xml"/><Relationship Id="rId9" Type="http://schemas.openxmlformats.org/officeDocument/2006/relationships/slideLayout" Target="../slideLayouts/slideLayout904.xml"/><Relationship Id="rId210" Type="http://schemas.openxmlformats.org/officeDocument/2006/relationships/slideLayout" Target="../slideLayouts/slideLayout1105.xml"/><Relationship Id="rId26" Type="http://schemas.openxmlformats.org/officeDocument/2006/relationships/slideLayout" Target="../slideLayouts/slideLayout921.xml"/><Relationship Id="rId231" Type="http://schemas.openxmlformats.org/officeDocument/2006/relationships/slideLayout" Target="../slideLayouts/slideLayout1126.xml"/><Relationship Id="rId252" Type="http://schemas.openxmlformats.org/officeDocument/2006/relationships/slideLayout" Target="../slideLayouts/slideLayout1147.xml"/><Relationship Id="rId273" Type="http://schemas.openxmlformats.org/officeDocument/2006/relationships/theme" Target="../theme/theme7.xml"/><Relationship Id="rId47" Type="http://schemas.openxmlformats.org/officeDocument/2006/relationships/slideLayout" Target="../slideLayouts/slideLayout942.xml"/><Relationship Id="rId68" Type="http://schemas.openxmlformats.org/officeDocument/2006/relationships/slideLayout" Target="../slideLayouts/slideLayout963.xml"/><Relationship Id="rId89" Type="http://schemas.openxmlformats.org/officeDocument/2006/relationships/slideLayout" Target="../slideLayouts/slideLayout984.xml"/><Relationship Id="rId112" Type="http://schemas.openxmlformats.org/officeDocument/2006/relationships/slideLayout" Target="../slideLayouts/slideLayout1007.xml"/><Relationship Id="rId133" Type="http://schemas.openxmlformats.org/officeDocument/2006/relationships/slideLayout" Target="../slideLayouts/slideLayout1028.xml"/><Relationship Id="rId154" Type="http://schemas.openxmlformats.org/officeDocument/2006/relationships/slideLayout" Target="../slideLayouts/slideLayout1049.xml"/><Relationship Id="rId175" Type="http://schemas.openxmlformats.org/officeDocument/2006/relationships/slideLayout" Target="../slideLayouts/slideLayout1070.xml"/><Relationship Id="rId196" Type="http://schemas.openxmlformats.org/officeDocument/2006/relationships/slideLayout" Target="../slideLayouts/slideLayout1091.xml"/><Relationship Id="rId200" Type="http://schemas.openxmlformats.org/officeDocument/2006/relationships/slideLayout" Target="../slideLayouts/slideLayout1095.xml"/><Relationship Id="rId16" Type="http://schemas.openxmlformats.org/officeDocument/2006/relationships/slideLayout" Target="../slideLayouts/slideLayout911.xml"/><Relationship Id="rId221" Type="http://schemas.openxmlformats.org/officeDocument/2006/relationships/slideLayout" Target="../slideLayouts/slideLayout1116.xml"/><Relationship Id="rId242" Type="http://schemas.openxmlformats.org/officeDocument/2006/relationships/slideLayout" Target="../slideLayouts/slideLayout1137.xml"/><Relationship Id="rId263" Type="http://schemas.openxmlformats.org/officeDocument/2006/relationships/slideLayout" Target="../slideLayouts/slideLayout1158.xml"/><Relationship Id="rId37" Type="http://schemas.openxmlformats.org/officeDocument/2006/relationships/slideLayout" Target="../slideLayouts/slideLayout932.xml"/><Relationship Id="rId58" Type="http://schemas.openxmlformats.org/officeDocument/2006/relationships/slideLayout" Target="../slideLayouts/slideLayout953.xml"/><Relationship Id="rId79" Type="http://schemas.openxmlformats.org/officeDocument/2006/relationships/slideLayout" Target="../slideLayouts/slideLayout974.xml"/><Relationship Id="rId102" Type="http://schemas.openxmlformats.org/officeDocument/2006/relationships/slideLayout" Target="../slideLayouts/slideLayout997.xml"/><Relationship Id="rId123" Type="http://schemas.openxmlformats.org/officeDocument/2006/relationships/slideLayout" Target="../slideLayouts/slideLayout1018.xml"/><Relationship Id="rId144" Type="http://schemas.openxmlformats.org/officeDocument/2006/relationships/slideLayout" Target="../slideLayouts/slideLayout1039.xml"/><Relationship Id="rId90" Type="http://schemas.openxmlformats.org/officeDocument/2006/relationships/slideLayout" Target="../slideLayouts/slideLayout985.xml"/><Relationship Id="rId165" Type="http://schemas.openxmlformats.org/officeDocument/2006/relationships/slideLayout" Target="../slideLayouts/slideLayout1060.xml"/><Relationship Id="rId186" Type="http://schemas.openxmlformats.org/officeDocument/2006/relationships/slideLayout" Target="../slideLayouts/slideLayout1081.xml"/><Relationship Id="rId211" Type="http://schemas.openxmlformats.org/officeDocument/2006/relationships/slideLayout" Target="../slideLayouts/slideLayout1106.xml"/><Relationship Id="rId232" Type="http://schemas.openxmlformats.org/officeDocument/2006/relationships/slideLayout" Target="../slideLayouts/slideLayout1127.xml"/><Relationship Id="rId253" Type="http://schemas.openxmlformats.org/officeDocument/2006/relationships/slideLayout" Target="../slideLayouts/slideLayout1148.xml"/><Relationship Id="rId27" Type="http://schemas.openxmlformats.org/officeDocument/2006/relationships/slideLayout" Target="../slideLayouts/slideLayout922.xml"/><Relationship Id="rId48" Type="http://schemas.openxmlformats.org/officeDocument/2006/relationships/slideLayout" Target="../slideLayouts/slideLayout943.xml"/><Relationship Id="rId69" Type="http://schemas.openxmlformats.org/officeDocument/2006/relationships/slideLayout" Target="../slideLayouts/slideLayout964.xml"/><Relationship Id="rId113" Type="http://schemas.openxmlformats.org/officeDocument/2006/relationships/slideLayout" Target="../slideLayouts/slideLayout1008.xml"/><Relationship Id="rId134" Type="http://schemas.openxmlformats.org/officeDocument/2006/relationships/slideLayout" Target="../slideLayouts/slideLayout1029.xml"/><Relationship Id="rId80" Type="http://schemas.openxmlformats.org/officeDocument/2006/relationships/slideLayout" Target="../slideLayouts/slideLayout975.xml"/><Relationship Id="rId155" Type="http://schemas.openxmlformats.org/officeDocument/2006/relationships/slideLayout" Target="../slideLayouts/slideLayout1050.xml"/><Relationship Id="rId176" Type="http://schemas.openxmlformats.org/officeDocument/2006/relationships/slideLayout" Target="../slideLayouts/slideLayout1071.xml"/><Relationship Id="rId197" Type="http://schemas.openxmlformats.org/officeDocument/2006/relationships/slideLayout" Target="../slideLayouts/slideLayout1092.xml"/><Relationship Id="rId201" Type="http://schemas.openxmlformats.org/officeDocument/2006/relationships/slideLayout" Target="../slideLayouts/slideLayout1096.xml"/><Relationship Id="rId222" Type="http://schemas.openxmlformats.org/officeDocument/2006/relationships/slideLayout" Target="../slideLayouts/slideLayout1117.xml"/><Relationship Id="rId243" Type="http://schemas.openxmlformats.org/officeDocument/2006/relationships/slideLayout" Target="../slideLayouts/slideLayout1138.xml"/><Relationship Id="rId264" Type="http://schemas.openxmlformats.org/officeDocument/2006/relationships/slideLayout" Target="../slideLayouts/slideLayout1159.xml"/><Relationship Id="rId17" Type="http://schemas.openxmlformats.org/officeDocument/2006/relationships/slideLayout" Target="../slideLayouts/slideLayout912.xml"/><Relationship Id="rId38" Type="http://schemas.openxmlformats.org/officeDocument/2006/relationships/slideLayout" Target="../slideLayouts/slideLayout933.xml"/><Relationship Id="rId59" Type="http://schemas.openxmlformats.org/officeDocument/2006/relationships/slideLayout" Target="../slideLayouts/slideLayout954.xml"/><Relationship Id="rId103" Type="http://schemas.openxmlformats.org/officeDocument/2006/relationships/slideLayout" Target="../slideLayouts/slideLayout998.xml"/><Relationship Id="rId124" Type="http://schemas.openxmlformats.org/officeDocument/2006/relationships/slideLayout" Target="../slideLayouts/slideLayout1019.xml"/><Relationship Id="rId70" Type="http://schemas.openxmlformats.org/officeDocument/2006/relationships/slideLayout" Target="../slideLayouts/slideLayout965.xml"/><Relationship Id="rId91" Type="http://schemas.openxmlformats.org/officeDocument/2006/relationships/slideLayout" Target="../slideLayouts/slideLayout986.xml"/><Relationship Id="rId145" Type="http://schemas.openxmlformats.org/officeDocument/2006/relationships/slideLayout" Target="../slideLayouts/slideLayout1040.xml"/><Relationship Id="rId166" Type="http://schemas.openxmlformats.org/officeDocument/2006/relationships/slideLayout" Target="../slideLayouts/slideLayout1061.xml"/><Relationship Id="rId187" Type="http://schemas.openxmlformats.org/officeDocument/2006/relationships/slideLayout" Target="../slideLayouts/slideLayout1082.xml"/><Relationship Id="rId1" Type="http://schemas.openxmlformats.org/officeDocument/2006/relationships/slideLayout" Target="../slideLayouts/slideLayout896.xml"/><Relationship Id="rId212" Type="http://schemas.openxmlformats.org/officeDocument/2006/relationships/slideLayout" Target="../slideLayouts/slideLayout1107.xml"/><Relationship Id="rId233" Type="http://schemas.openxmlformats.org/officeDocument/2006/relationships/slideLayout" Target="../slideLayouts/slideLayout1128.xml"/><Relationship Id="rId254" Type="http://schemas.openxmlformats.org/officeDocument/2006/relationships/slideLayout" Target="../slideLayouts/slideLayout1149.xml"/><Relationship Id="rId28" Type="http://schemas.openxmlformats.org/officeDocument/2006/relationships/slideLayout" Target="../slideLayouts/slideLayout923.xml"/><Relationship Id="rId49" Type="http://schemas.openxmlformats.org/officeDocument/2006/relationships/slideLayout" Target="../slideLayouts/slideLayout944.xml"/><Relationship Id="rId114" Type="http://schemas.openxmlformats.org/officeDocument/2006/relationships/slideLayout" Target="../slideLayouts/slideLayout1009.xml"/><Relationship Id="rId60" Type="http://schemas.openxmlformats.org/officeDocument/2006/relationships/slideLayout" Target="../slideLayouts/slideLayout955.xml"/><Relationship Id="rId81" Type="http://schemas.openxmlformats.org/officeDocument/2006/relationships/slideLayout" Target="../slideLayouts/slideLayout976.xml"/><Relationship Id="rId135" Type="http://schemas.openxmlformats.org/officeDocument/2006/relationships/slideLayout" Target="../slideLayouts/slideLayout1030.xml"/><Relationship Id="rId156" Type="http://schemas.openxmlformats.org/officeDocument/2006/relationships/slideLayout" Target="../slideLayouts/slideLayout1051.xml"/><Relationship Id="rId177" Type="http://schemas.openxmlformats.org/officeDocument/2006/relationships/slideLayout" Target="../slideLayouts/slideLayout1072.xml"/><Relationship Id="rId198" Type="http://schemas.openxmlformats.org/officeDocument/2006/relationships/slideLayout" Target="../slideLayouts/slideLayout1093.xml"/><Relationship Id="rId202" Type="http://schemas.openxmlformats.org/officeDocument/2006/relationships/slideLayout" Target="../slideLayouts/slideLayout1097.xml"/><Relationship Id="rId223" Type="http://schemas.openxmlformats.org/officeDocument/2006/relationships/slideLayout" Target="../slideLayouts/slideLayout1118.xml"/><Relationship Id="rId244" Type="http://schemas.openxmlformats.org/officeDocument/2006/relationships/slideLayout" Target="../slideLayouts/slideLayout1139.xml"/><Relationship Id="rId18" Type="http://schemas.openxmlformats.org/officeDocument/2006/relationships/slideLayout" Target="../slideLayouts/slideLayout913.xml"/><Relationship Id="rId39" Type="http://schemas.openxmlformats.org/officeDocument/2006/relationships/slideLayout" Target="../slideLayouts/slideLayout934.xml"/><Relationship Id="rId265" Type="http://schemas.openxmlformats.org/officeDocument/2006/relationships/slideLayout" Target="../slideLayouts/slideLayout1160.xml"/><Relationship Id="rId50" Type="http://schemas.openxmlformats.org/officeDocument/2006/relationships/slideLayout" Target="../slideLayouts/slideLayout945.xml"/><Relationship Id="rId104" Type="http://schemas.openxmlformats.org/officeDocument/2006/relationships/slideLayout" Target="../slideLayouts/slideLayout999.xml"/><Relationship Id="rId125" Type="http://schemas.openxmlformats.org/officeDocument/2006/relationships/slideLayout" Target="../slideLayouts/slideLayout1020.xml"/><Relationship Id="rId146" Type="http://schemas.openxmlformats.org/officeDocument/2006/relationships/slideLayout" Target="../slideLayouts/slideLayout1041.xml"/><Relationship Id="rId167" Type="http://schemas.openxmlformats.org/officeDocument/2006/relationships/slideLayout" Target="../slideLayouts/slideLayout1062.xml"/><Relationship Id="rId188" Type="http://schemas.openxmlformats.org/officeDocument/2006/relationships/slideLayout" Target="../slideLayouts/slideLayout1083.xml"/><Relationship Id="rId71" Type="http://schemas.openxmlformats.org/officeDocument/2006/relationships/slideLayout" Target="../slideLayouts/slideLayout966.xml"/><Relationship Id="rId92" Type="http://schemas.openxmlformats.org/officeDocument/2006/relationships/slideLayout" Target="../slideLayouts/slideLayout987.xml"/><Relationship Id="rId213" Type="http://schemas.openxmlformats.org/officeDocument/2006/relationships/slideLayout" Target="../slideLayouts/slideLayout1108.xml"/><Relationship Id="rId234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897.xml"/><Relationship Id="rId29" Type="http://schemas.openxmlformats.org/officeDocument/2006/relationships/slideLayout" Target="../slideLayouts/slideLayout924.xml"/><Relationship Id="rId255" Type="http://schemas.openxmlformats.org/officeDocument/2006/relationships/slideLayout" Target="../slideLayouts/slideLayout1150.xml"/><Relationship Id="rId40" Type="http://schemas.openxmlformats.org/officeDocument/2006/relationships/slideLayout" Target="../slideLayouts/slideLayout935.xml"/><Relationship Id="rId115" Type="http://schemas.openxmlformats.org/officeDocument/2006/relationships/slideLayout" Target="../slideLayouts/slideLayout1010.xml"/><Relationship Id="rId136" Type="http://schemas.openxmlformats.org/officeDocument/2006/relationships/slideLayout" Target="../slideLayouts/slideLayout1031.xml"/><Relationship Id="rId157" Type="http://schemas.openxmlformats.org/officeDocument/2006/relationships/slideLayout" Target="../slideLayouts/slideLayout1052.xml"/><Relationship Id="rId178" Type="http://schemas.openxmlformats.org/officeDocument/2006/relationships/slideLayout" Target="../slideLayouts/slideLayout1073.xml"/><Relationship Id="rId61" Type="http://schemas.openxmlformats.org/officeDocument/2006/relationships/slideLayout" Target="../slideLayouts/slideLayout956.xml"/><Relationship Id="rId82" Type="http://schemas.openxmlformats.org/officeDocument/2006/relationships/slideLayout" Target="../slideLayouts/slideLayout977.xml"/><Relationship Id="rId199" Type="http://schemas.openxmlformats.org/officeDocument/2006/relationships/slideLayout" Target="../slideLayouts/slideLayout1094.xml"/><Relationship Id="rId203" Type="http://schemas.openxmlformats.org/officeDocument/2006/relationships/slideLayout" Target="../slideLayouts/slideLayout1098.xml"/><Relationship Id="rId19" Type="http://schemas.openxmlformats.org/officeDocument/2006/relationships/slideLayout" Target="../slideLayouts/slideLayout914.xml"/><Relationship Id="rId224" Type="http://schemas.openxmlformats.org/officeDocument/2006/relationships/slideLayout" Target="../slideLayouts/slideLayout1119.xml"/><Relationship Id="rId245" Type="http://schemas.openxmlformats.org/officeDocument/2006/relationships/slideLayout" Target="../slideLayouts/slideLayout1140.xml"/><Relationship Id="rId266" Type="http://schemas.openxmlformats.org/officeDocument/2006/relationships/slideLayout" Target="../slideLayouts/slideLayout1161.xml"/><Relationship Id="rId30" Type="http://schemas.openxmlformats.org/officeDocument/2006/relationships/slideLayout" Target="../slideLayouts/slideLayout925.xml"/><Relationship Id="rId105" Type="http://schemas.openxmlformats.org/officeDocument/2006/relationships/slideLayout" Target="../slideLayouts/slideLayout1000.xml"/><Relationship Id="rId126" Type="http://schemas.openxmlformats.org/officeDocument/2006/relationships/slideLayout" Target="../slideLayouts/slideLayout1021.xml"/><Relationship Id="rId147" Type="http://schemas.openxmlformats.org/officeDocument/2006/relationships/slideLayout" Target="../slideLayouts/slideLayout1042.xml"/><Relationship Id="rId168" Type="http://schemas.openxmlformats.org/officeDocument/2006/relationships/slideLayout" Target="../slideLayouts/slideLayout1063.xml"/><Relationship Id="rId51" Type="http://schemas.openxmlformats.org/officeDocument/2006/relationships/slideLayout" Target="../slideLayouts/slideLayout946.xml"/><Relationship Id="rId72" Type="http://schemas.openxmlformats.org/officeDocument/2006/relationships/slideLayout" Target="../slideLayouts/slideLayout967.xml"/><Relationship Id="rId93" Type="http://schemas.openxmlformats.org/officeDocument/2006/relationships/slideLayout" Target="../slideLayouts/slideLayout988.xml"/><Relationship Id="rId189" Type="http://schemas.openxmlformats.org/officeDocument/2006/relationships/slideLayout" Target="../slideLayouts/slideLayout1084.xml"/><Relationship Id="rId3" Type="http://schemas.openxmlformats.org/officeDocument/2006/relationships/slideLayout" Target="../slideLayouts/slideLayout898.xml"/><Relationship Id="rId214" Type="http://schemas.openxmlformats.org/officeDocument/2006/relationships/slideLayout" Target="../slideLayouts/slideLayout1109.xml"/><Relationship Id="rId235" Type="http://schemas.openxmlformats.org/officeDocument/2006/relationships/slideLayout" Target="../slideLayouts/slideLayout1130.xml"/><Relationship Id="rId256" Type="http://schemas.openxmlformats.org/officeDocument/2006/relationships/slideLayout" Target="../slideLayouts/slideLayout1151.xml"/><Relationship Id="rId116" Type="http://schemas.openxmlformats.org/officeDocument/2006/relationships/slideLayout" Target="../slideLayouts/slideLayout1011.xml"/><Relationship Id="rId137" Type="http://schemas.openxmlformats.org/officeDocument/2006/relationships/slideLayout" Target="../slideLayouts/slideLayout1032.xml"/><Relationship Id="rId158" Type="http://schemas.openxmlformats.org/officeDocument/2006/relationships/slideLayout" Target="../slideLayouts/slideLayout1053.xml"/><Relationship Id="rId20" Type="http://schemas.openxmlformats.org/officeDocument/2006/relationships/slideLayout" Target="../slideLayouts/slideLayout915.xml"/><Relationship Id="rId41" Type="http://schemas.openxmlformats.org/officeDocument/2006/relationships/slideLayout" Target="../slideLayouts/slideLayout936.xml"/><Relationship Id="rId62" Type="http://schemas.openxmlformats.org/officeDocument/2006/relationships/slideLayout" Target="../slideLayouts/slideLayout957.xml"/><Relationship Id="rId83" Type="http://schemas.openxmlformats.org/officeDocument/2006/relationships/slideLayout" Target="../slideLayouts/slideLayout978.xml"/><Relationship Id="rId179" Type="http://schemas.openxmlformats.org/officeDocument/2006/relationships/slideLayout" Target="../slideLayouts/slideLayout1074.xml"/><Relationship Id="rId190" Type="http://schemas.openxmlformats.org/officeDocument/2006/relationships/slideLayout" Target="../slideLayouts/slideLayout1085.xml"/><Relationship Id="rId204" Type="http://schemas.openxmlformats.org/officeDocument/2006/relationships/slideLayout" Target="../slideLayouts/slideLayout1099.xml"/><Relationship Id="rId225" Type="http://schemas.openxmlformats.org/officeDocument/2006/relationships/slideLayout" Target="../slideLayouts/slideLayout1120.xml"/><Relationship Id="rId246" Type="http://schemas.openxmlformats.org/officeDocument/2006/relationships/slideLayout" Target="../slideLayouts/slideLayout1141.xml"/><Relationship Id="rId267" Type="http://schemas.openxmlformats.org/officeDocument/2006/relationships/slideLayout" Target="../slideLayouts/slideLayout1162.xml"/><Relationship Id="rId106" Type="http://schemas.openxmlformats.org/officeDocument/2006/relationships/slideLayout" Target="../slideLayouts/slideLayout1001.xml"/><Relationship Id="rId127" Type="http://schemas.openxmlformats.org/officeDocument/2006/relationships/slideLayout" Target="../slideLayouts/slideLayout1022.xml"/><Relationship Id="rId10" Type="http://schemas.openxmlformats.org/officeDocument/2006/relationships/slideLayout" Target="../slideLayouts/slideLayout905.xml"/><Relationship Id="rId31" Type="http://schemas.openxmlformats.org/officeDocument/2006/relationships/slideLayout" Target="../slideLayouts/slideLayout926.xml"/><Relationship Id="rId52" Type="http://schemas.openxmlformats.org/officeDocument/2006/relationships/slideLayout" Target="../slideLayouts/slideLayout947.xml"/><Relationship Id="rId73" Type="http://schemas.openxmlformats.org/officeDocument/2006/relationships/slideLayout" Target="../slideLayouts/slideLayout968.xml"/><Relationship Id="rId94" Type="http://schemas.openxmlformats.org/officeDocument/2006/relationships/slideLayout" Target="../slideLayouts/slideLayout989.xml"/><Relationship Id="rId148" Type="http://schemas.openxmlformats.org/officeDocument/2006/relationships/slideLayout" Target="../slideLayouts/slideLayout1043.xml"/><Relationship Id="rId169" Type="http://schemas.openxmlformats.org/officeDocument/2006/relationships/slideLayout" Target="../slideLayouts/slideLayout1064.xml"/><Relationship Id="rId4" Type="http://schemas.openxmlformats.org/officeDocument/2006/relationships/slideLayout" Target="../slideLayouts/slideLayout899.xml"/><Relationship Id="rId180" Type="http://schemas.openxmlformats.org/officeDocument/2006/relationships/slideLayout" Target="../slideLayouts/slideLayout1075.xml"/><Relationship Id="rId215" Type="http://schemas.openxmlformats.org/officeDocument/2006/relationships/slideLayout" Target="../slideLayouts/slideLayout1110.xml"/><Relationship Id="rId236" Type="http://schemas.openxmlformats.org/officeDocument/2006/relationships/slideLayout" Target="../slideLayouts/slideLayout1131.xml"/><Relationship Id="rId257" Type="http://schemas.openxmlformats.org/officeDocument/2006/relationships/slideLayout" Target="../slideLayouts/slideLayout1152.xml"/><Relationship Id="rId42" Type="http://schemas.openxmlformats.org/officeDocument/2006/relationships/slideLayout" Target="../slideLayouts/slideLayout937.xml"/><Relationship Id="rId84" Type="http://schemas.openxmlformats.org/officeDocument/2006/relationships/slideLayout" Target="../slideLayouts/slideLayout979.xml"/><Relationship Id="rId138" Type="http://schemas.openxmlformats.org/officeDocument/2006/relationships/slideLayout" Target="../slideLayouts/slideLayout1033.xml"/><Relationship Id="rId191" Type="http://schemas.openxmlformats.org/officeDocument/2006/relationships/slideLayout" Target="../slideLayouts/slideLayout1086.xml"/><Relationship Id="rId205" Type="http://schemas.openxmlformats.org/officeDocument/2006/relationships/slideLayout" Target="../slideLayouts/slideLayout1100.xml"/><Relationship Id="rId247" Type="http://schemas.openxmlformats.org/officeDocument/2006/relationships/slideLayout" Target="../slideLayouts/slideLayout1142.xml"/><Relationship Id="rId107" Type="http://schemas.openxmlformats.org/officeDocument/2006/relationships/slideLayout" Target="../slideLayouts/slideLayout1002.xml"/><Relationship Id="rId11" Type="http://schemas.openxmlformats.org/officeDocument/2006/relationships/slideLayout" Target="../slideLayouts/slideLayout906.xml"/><Relationship Id="rId53" Type="http://schemas.openxmlformats.org/officeDocument/2006/relationships/slideLayout" Target="../slideLayouts/slideLayout948.xml"/><Relationship Id="rId149" Type="http://schemas.openxmlformats.org/officeDocument/2006/relationships/slideLayout" Target="../slideLayouts/slideLayout1044.xml"/></Relationships>
</file>

<file path=ppt/slideMasters/_rels/slideMaster8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4.xml"/><Relationship Id="rId21" Type="http://schemas.openxmlformats.org/officeDocument/2006/relationships/slideLayout" Target="../slideLayouts/slideLayout1188.xml"/><Relationship Id="rId42" Type="http://schemas.openxmlformats.org/officeDocument/2006/relationships/slideLayout" Target="../slideLayouts/slideLayout1209.xml"/><Relationship Id="rId63" Type="http://schemas.openxmlformats.org/officeDocument/2006/relationships/slideLayout" Target="../slideLayouts/slideLayout1230.xml"/><Relationship Id="rId84" Type="http://schemas.openxmlformats.org/officeDocument/2006/relationships/slideLayout" Target="../slideLayouts/slideLayout1251.xml"/><Relationship Id="rId138" Type="http://schemas.openxmlformats.org/officeDocument/2006/relationships/slideLayout" Target="../slideLayouts/slideLayout1305.xml"/><Relationship Id="rId159" Type="http://schemas.openxmlformats.org/officeDocument/2006/relationships/slideLayout" Target="../slideLayouts/slideLayout1326.xml"/><Relationship Id="rId170" Type="http://schemas.openxmlformats.org/officeDocument/2006/relationships/slideLayout" Target="../slideLayouts/slideLayout1337.xml"/><Relationship Id="rId191" Type="http://schemas.openxmlformats.org/officeDocument/2006/relationships/slideLayout" Target="../slideLayouts/slideLayout1358.xml"/><Relationship Id="rId205" Type="http://schemas.openxmlformats.org/officeDocument/2006/relationships/slideLayout" Target="../slideLayouts/slideLayout1372.xml"/><Relationship Id="rId226" Type="http://schemas.openxmlformats.org/officeDocument/2006/relationships/slideLayout" Target="../slideLayouts/slideLayout1393.xml"/><Relationship Id="rId107" Type="http://schemas.openxmlformats.org/officeDocument/2006/relationships/slideLayout" Target="../slideLayouts/slideLayout1274.xml"/><Relationship Id="rId11" Type="http://schemas.openxmlformats.org/officeDocument/2006/relationships/slideLayout" Target="../slideLayouts/slideLayout1178.xml"/><Relationship Id="rId32" Type="http://schemas.openxmlformats.org/officeDocument/2006/relationships/slideLayout" Target="../slideLayouts/slideLayout1199.xml"/><Relationship Id="rId53" Type="http://schemas.openxmlformats.org/officeDocument/2006/relationships/slideLayout" Target="../slideLayouts/slideLayout1220.xml"/><Relationship Id="rId74" Type="http://schemas.openxmlformats.org/officeDocument/2006/relationships/slideLayout" Target="../slideLayouts/slideLayout1241.xml"/><Relationship Id="rId128" Type="http://schemas.openxmlformats.org/officeDocument/2006/relationships/slideLayout" Target="../slideLayouts/slideLayout1295.xml"/><Relationship Id="rId149" Type="http://schemas.openxmlformats.org/officeDocument/2006/relationships/slideLayout" Target="../slideLayouts/slideLayout1316.xml"/><Relationship Id="rId5" Type="http://schemas.openxmlformats.org/officeDocument/2006/relationships/slideLayout" Target="../slideLayouts/slideLayout1172.xml"/><Relationship Id="rId95" Type="http://schemas.openxmlformats.org/officeDocument/2006/relationships/slideLayout" Target="../slideLayouts/slideLayout1262.xml"/><Relationship Id="rId160" Type="http://schemas.openxmlformats.org/officeDocument/2006/relationships/slideLayout" Target="../slideLayouts/slideLayout1327.xml"/><Relationship Id="rId181" Type="http://schemas.openxmlformats.org/officeDocument/2006/relationships/slideLayout" Target="../slideLayouts/slideLayout1348.xml"/><Relationship Id="rId216" Type="http://schemas.openxmlformats.org/officeDocument/2006/relationships/slideLayout" Target="../slideLayouts/slideLayout1383.xml"/><Relationship Id="rId22" Type="http://schemas.openxmlformats.org/officeDocument/2006/relationships/slideLayout" Target="../slideLayouts/slideLayout1189.xml"/><Relationship Id="rId43" Type="http://schemas.openxmlformats.org/officeDocument/2006/relationships/slideLayout" Target="../slideLayouts/slideLayout1210.xml"/><Relationship Id="rId64" Type="http://schemas.openxmlformats.org/officeDocument/2006/relationships/slideLayout" Target="../slideLayouts/slideLayout1231.xml"/><Relationship Id="rId118" Type="http://schemas.openxmlformats.org/officeDocument/2006/relationships/slideLayout" Target="../slideLayouts/slideLayout1285.xml"/><Relationship Id="rId139" Type="http://schemas.openxmlformats.org/officeDocument/2006/relationships/slideLayout" Target="../slideLayouts/slideLayout1306.xml"/><Relationship Id="rId85" Type="http://schemas.openxmlformats.org/officeDocument/2006/relationships/slideLayout" Target="../slideLayouts/slideLayout1252.xml"/><Relationship Id="rId150" Type="http://schemas.openxmlformats.org/officeDocument/2006/relationships/slideLayout" Target="../slideLayouts/slideLayout1317.xml"/><Relationship Id="rId171" Type="http://schemas.openxmlformats.org/officeDocument/2006/relationships/slideLayout" Target="../slideLayouts/slideLayout1338.xml"/><Relationship Id="rId192" Type="http://schemas.openxmlformats.org/officeDocument/2006/relationships/slideLayout" Target="../slideLayouts/slideLayout1359.xml"/><Relationship Id="rId206" Type="http://schemas.openxmlformats.org/officeDocument/2006/relationships/slideLayout" Target="../slideLayouts/slideLayout1373.xml"/><Relationship Id="rId227" Type="http://schemas.openxmlformats.org/officeDocument/2006/relationships/slideLayout" Target="../slideLayouts/slideLayout1394.xml"/><Relationship Id="rId12" Type="http://schemas.openxmlformats.org/officeDocument/2006/relationships/slideLayout" Target="../slideLayouts/slideLayout1179.xml"/><Relationship Id="rId33" Type="http://schemas.openxmlformats.org/officeDocument/2006/relationships/slideLayout" Target="../slideLayouts/slideLayout1200.xml"/><Relationship Id="rId108" Type="http://schemas.openxmlformats.org/officeDocument/2006/relationships/slideLayout" Target="../slideLayouts/slideLayout1275.xml"/><Relationship Id="rId129" Type="http://schemas.openxmlformats.org/officeDocument/2006/relationships/slideLayout" Target="../slideLayouts/slideLayout1296.xml"/><Relationship Id="rId54" Type="http://schemas.openxmlformats.org/officeDocument/2006/relationships/slideLayout" Target="../slideLayouts/slideLayout1221.xml"/><Relationship Id="rId75" Type="http://schemas.openxmlformats.org/officeDocument/2006/relationships/slideLayout" Target="../slideLayouts/slideLayout1242.xml"/><Relationship Id="rId96" Type="http://schemas.openxmlformats.org/officeDocument/2006/relationships/slideLayout" Target="../slideLayouts/slideLayout1263.xml"/><Relationship Id="rId140" Type="http://schemas.openxmlformats.org/officeDocument/2006/relationships/slideLayout" Target="../slideLayouts/slideLayout1307.xml"/><Relationship Id="rId161" Type="http://schemas.openxmlformats.org/officeDocument/2006/relationships/slideLayout" Target="../slideLayouts/slideLayout1328.xml"/><Relationship Id="rId182" Type="http://schemas.openxmlformats.org/officeDocument/2006/relationships/slideLayout" Target="../slideLayouts/slideLayout1349.xml"/><Relationship Id="rId217" Type="http://schemas.openxmlformats.org/officeDocument/2006/relationships/slideLayout" Target="../slideLayouts/slideLayout1384.xml"/><Relationship Id="rId6" Type="http://schemas.openxmlformats.org/officeDocument/2006/relationships/slideLayout" Target="../slideLayouts/slideLayout1173.xml"/><Relationship Id="rId23" Type="http://schemas.openxmlformats.org/officeDocument/2006/relationships/slideLayout" Target="../slideLayouts/slideLayout1190.xml"/><Relationship Id="rId119" Type="http://schemas.openxmlformats.org/officeDocument/2006/relationships/slideLayout" Target="../slideLayouts/slideLayout1286.xml"/><Relationship Id="rId44" Type="http://schemas.openxmlformats.org/officeDocument/2006/relationships/slideLayout" Target="../slideLayouts/slideLayout1211.xml"/><Relationship Id="rId65" Type="http://schemas.openxmlformats.org/officeDocument/2006/relationships/slideLayout" Target="../slideLayouts/slideLayout1232.xml"/><Relationship Id="rId86" Type="http://schemas.openxmlformats.org/officeDocument/2006/relationships/slideLayout" Target="../slideLayouts/slideLayout1253.xml"/><Relationship Id="rId130" Type="http://schemas.openxmlformats.org/officeDocument/2006/relationships/slideLayout" Target="../slideLayouts/slideLayout1297.xml"/><Relationship Id="rId151" Type="http://schemas.openxmlformats.org/officeDocument/2006/relationships/slideLayout" Target="../slideLayouts/slideLayout1318.xml"/><Relationship Id="rId172" Type="http://schemas.openxmlformats.org/officeDocument/2006/relationships/slideLayout" Target="../slideLayouts/slideLayout1339.xml"/><Relationship Id="rId193" Type="http://schemas.openxmlformats.org/officeDocument/2006/relationships/slideLayout" Target="../slideLayouts/slideLayout1360.xml"/><Relationship Id="rId207" Type="http://schemas.openxmlformats.org/officeDocument/2006/relationships/slideLayout" Target="../slideLayouts/slideLayout1374.xml"/><Relationship Id="rId228" Type="http://schemas.openxmlformats.org/officeDocument/2006/relationships/slideLayout" Target="../slideLayouts/slideLayout1395.xml"/><Relationship Id="rId13" Type="http://schemas.openxmlformats.org/officeDocument/2006/relationships/slideLayout" Target="../slideLayouts/slideLayout1180.xml"/><Relationship Id="rId109" Type="http://schemas.openxmlformats.org/officeDocument/2006/relationships/slideLayout" Target="../slideLayouts/slideLayout1276.xml"/><Relationship Id="rId34" Type="http://schemas.openxmlformats.org/officeDocument/2006/relationships/slideLayout" Target="../slideLayouts/slideLayout1201.xml"/><Relationship Id="rId55" Type="http://schemas.openxmlformats.org/officeDocument/2006/relationships/slideLayout" Target="../slideLayouts/slideLayout1222.xml"/><Relationship Id="rId76" Type="http://schemas.openxmlformats.org/officeDocument/2006/relationships/slideLayout" Target="../slideLayouts/slideLayout1243.xml"/><Relationship Id="rId97" Type="http://schemas.openxmlformats.org/officeDocument/2006/relationships/slideLayout" Target="../slideLayouts/slideLayout1264.xml"/><Relationship Id="rId120" Type="http://schemas.openxmlformats.org/officeDocument/2006/relationships/slideLayout" Target="../slideLayouts/slideLayout1287.xml"/><Relationship Id="rId141" Type="http://schemas.openxmlformats.org/officeDocument/2006/relationships/slideLayout" Target="../slideLayouts/slideLayout1308.xml"/><Relationship Id="rId7" Type="http://schemas.openxmlformats.org/officeDocument/2006/relationships/slideLayout" Target="../slideLayouts/slideLayout1174.xml"/><Relationship Id="rId162" Type="http://schemas.openxmlformats.org/officeDocument/2006/relationships/slideLayout" Target="../slideLayouts/slideLayout1329.xml"/><Relationship Id="rId183" Type="http://schemas.openxmlformats.org/officeDocument/2006/relationships/slideLayout" Target="../slideLayouts/slideLayout1350.xml"/><Relationship Id="rId218" Type="http://schemas.openxmlformats.org/officeDocument/2006/relationships/slideLayout" Target="../slideLayouts/slideLayout1385.xml"/><Relationship Id="rId24" Type="http://schemas.openxmlformats.org/officeDocument/2006/relationships/slideLayout" Target="../slideLayouts/slideLayout1191.xml"/><Relationship Id="rId45" Type="http://schemas.openxmlformats.org/officeDocument/2006/relationships/slideLayout" Target="../slideLayouts/slideLayout1212.xml"/><Relationship Id="rId66" Type="http://schemas.openxmlformats.org/officeDocument/2006/relationships/slideLayout" Target="../slideLayouts/slideLayout1233.xml"/><Relationship Id="rId87" Type="http://schemas.openxmlformats.org/officeDocument/2006/relationships/slideLayout" Target="../slideLayouts/slideLayout1254.xml"/><Relationship Id="rId110" Type="http://schemas.openxmlformats.org/officeDocument/2006/relationships/slideLayout" Target="../slideLayouts/slideLayout1277.xml"/><Relationship Id="rId131" Type="http://schemas.openxmlformats.org/officeDocument/2006/relationships/slideLayout" Target="../slideLayouts/slideLayout1298.xml"/><Relationship Id="rId152" Type="http://schemas.openxmlformats.org/officeDocument/2006/relationships/slideLayout" Target="../slideLayouts/slideLayout1319.xml"/><Relationship Id="rId173" Type="http://schemas.openxmlformats.org/officeDocument/2006/relationships/slideLayout" Target="../slideLayouts/slideLayout1340.xml"/><Relationship Id="rId194" Type="http://schemas.openxmlformats.org/officeDocument/2006/relationships/slideLayout" Target="../slideLayouts/slideLayout1361.xml"/><Relationship Id="rId208" Type="http://schemas.openxmlformats.org/officeDocument/2006/relationships/slideLayout" Target="../slideLayouts/slideLayout1375.xml"/><Relationship Id="rId229" Type="http://schemas.openxmlformats.org/officeDocument/2006/relationships/slideLayout" Target="../slideLayouts/slideLayout1396.xml"/><Relationship Id="rId14" Type="http://schemas.openxmlformats.org/officeDocument/2006/relationships/slideLayout" Target="../slideLayouts/slideLayout1181.xml"/><Relationship Id="rId35" Type="http://schemas.openxmlformats.org/officeDocument/2006/relationships/slideLayout" Target="../slideLayouts/slideLayout1202.xml"/><Relationship Id="rId56" Type="http://schemas.openxmlformats.org/officeDocument/2006/relationships/slideLayout" Target="../slideLayouts/slideLayout1223.xml"/><Relationship Id="rId77" Type="http://schemas.openxmlformats.org/officeDocument/2006/relationships/slideLayout" Target="../slideLayouts/slideLayout1244.xml"/><Relationship Id="rId100" Type="http://schemas.openxmlformats.org/officeDocument/2006/relationships/slideLayout" Target="../slideLayouts/slideLayout1267.xml"/><Relationship Id="rId8" Type="http://schemas.openxmlformats.org/officeDocument/2006/relationships/slideLayout" Target="../slideLayouts/slideLayout1175.xml"/><Relationship Id="rId98" Type="http://schemas.openxmlformats.org/officeDocument/2006/relationships/slideLayout" Target="../slideLayouts/slideLayout1265.xml"/><Relationship Id="rId121" Type="http://schemas.openxmlformats.org/officeDocument/2006/relationships/slideLayout" Target="../slideLayouts/slideLayout1288.xml"/><Relationship Id="rId142" Type="http://schemas.openxmlformats.org/officeDocument/2006/relationships/slideLayout" Target="../slideLayouts/slideLayout1309.xml"/><Relationship Id="rId163" Type="http://schemas.openxmlformats.org/officeDocument/2006/relationships/slideLayout" Target="../slideLayouts/slideLayout1330.xml"/><Relationship Id="rId184" Type="http://schemas.openxmlformats.org/officeDocument/2006/relationships/slideLayout" Target="../slideLayouts/slideLayout1351.xml"/><Relationship Id="rId219" Type="http://schemas.openxmlformats.org/officeDocument/2006/relationships/slideLayout" Target="../slideLayouts/slideLayout1386.xml"/><Relationship Id="rId230" Type="http://schemas.openxmlformats.org/officeDocument/2006/relationships/slideLayout" Target="../slideLayouts/slideLayout1397.xml"/><Relationship Id="rId25" Type="http://schemas.openxmlformats.org/officeDocument/2006/relationships/slideLayout" Target="../slideLayouts/slideLayout1192.xml"/><Relationship Id="rId46" Type="http://schemas.openxmlformats.org/officeDocument/2006/relationships/slideLayout" Target="../slideLayouts/slideLayout1213.xml"/><Relationship Id="rId67" Type="http://schemas.openxmlformats.org/officeDocument/2006/relationships/slideLayout" Target="../slideLayouts/slideLayout1234.xml"/><Relationship Id="rId116" Type="http://schemas.openxmlformats.org/officeDocument/2006/relationships/slideLayout" Target="../slideLayouts/slideLayout1283.xml"/><Relationship Id="rId137" Type="http://schemas.openxmlformats.org/officeDocument/2006/relationships/slideLayout" Target="../slideLayouts/slideLayout1304.xml"/><Relationship Id="rId158" Type="http://schemas.openxmlformats.org/officeDocument/2006/relationships/slideLayout" Target="../slideLayouts/slideLayout1325.xml"/><Relationship Id="rId20" Type="http://schemas.openxmlformats.org/officeDocument/2006/relationships/slideLayout" Target="../slideLayouts/slideLayout1187.xml"/><Relationship Id="rId41" Type="http://schemas.openxmlformats.org/officeDocument/2006/relationships/slideLayout" Target="../slideLayouts/slideLayout1208.xml"/><Relationship Id="rId62" Type="http://schemas.openxmlformats.org/officeDocument/2006/relationships/slideLayout" Target="../slideLayouts/slideLayout1229.xml"/><Relationship Id="rId83" Type="http://schemas.openxmlformats.org/officeDocument/2006/relationships/slideLayout" Target="../slideLayouts/slideLayout1250.xml"/><Relationship Id="rId88" Type="http://schemas.openxmlformats.org/officeDocument/2006/relationships/slideLayout" Target="../slideLayouts/slideLayout1255.xml"/><Relationship Id="rId111" Type="http://schemas.openxmlformats.org/officeDocument/2006/relationships/slideLayout" Target="../slideLayouts/slideLayout1278.xml"/><Relationship Id="rId132" Type="http://schemas.openxmlformats.org/officeDocument/2006/relationships/slideLayout" Target="../slideLayouts/slideLayout1299.xml"/><Relationship Id="rId153" Type="http://schemas.openxmlformats.org/officeDocument/2006/relationships/slideLayout" Target="../slideLayouts/slideLayout1320.xml"/><Relationship Id="rId174" Type="http://schemas.openxmlformats.org/officeDocument/2006/relationships/slideLayout" Target="../slideLayouts/slideLayout1341.xml"/><Relationship Id="rId179" Type="http://schemas.openxmlformats.org/officeDocument/2006/relationships/slideLayout" Target="../slideLayouts/slideLayout1346.xml"/><Relationship Id="rId195" Type="http://schemas.openxmlformats.org/officeDocument/2006/relationships/slideLayout" Target="../slideLayouts/slideLayout1362.xml"/><Relationship Id="rId209" Type="http://schemas.openxmlformats.org/officeDocument/2006/relationships/slideLayout" Target="../slideLayouts/slideLayout1376.xml"/><Relationship Id="rId190" Type="http://schemas.openxmlformats.org/officeDocument/2006/relationships/slideLayout" Target="../slideLayouts/slideLayout1357.xml"/><Relationship Id="rId204" Type="http://schemas.openxmlformats.org/officeDocument/2006/relationships/slideLayout" Target="../slideLayouts/slideLayout1371.xml"/><Relationship Id="rId220" Type="http://schemas.openxmlformats.org/officeDocument/2006/relationships/slideLayout" Target="../slideLayouts/slideLayout1387.xml"/><Relationship Id="rId225" Type="http://schemas.openxmlformats.org/officeDocument/2006/relationships/slideLayout" Target="../slideLayouts/slideLayout1392.xml"/><Relationship Id="rId15" Type="http://schemas.openxmlformats.org/officeDocument/2006/relationships/slideLayout" Target="../slideLayouts/slideLayout1182.xml"/><Relationship Id="rId36" Type="http://schemas.openxmlformats.org/officeDocument/2006/relationships/slideLayout" Target="../slideLayouts/slideLayout1203.xml"/><Relationship Id="rId57" Type="http://schemas.openxmlformats.org/officeDocument/2006/relationships/slideLayout" Target="../slideLayouts/slideLayout1224.xml"/><Relationship Id="rId106" Type="http://schemas.openxmlformats.org/officeDocument/2006/relationships/slideLayout" Target="../slideLayouts/slideLayout1273.xml"/><Relationship Id="rId127" Type="http://schemas.openxmlformats.org/officeDocument/2006/relationships/slideLayout" Target="../slideLayouts/slideLayout1294.xml"/><Relationship Id="rId10" Type="http://schemas.openxmlformats.org/officeDocument/2006/relationships/slideLayout" Target="../slideLayouts/slideLayout1177.xml"/><Relationship Id="rId31" Type="http://schemas.openxmlformats.org/officeDocument/2006/relationships/slideLayout" Target="../slideLayouts/slideLayout1198.xml"/><Relationship Id="rId52" Type="http://schemas.openxmlformats.org/officeDocument/2006/relationships/slideLayout" Target="../slideLayouts/slideLayout1219.xml"/><Relationship Id="rId73" Type="http://schemas.openxmlformats.org/officeDocument/2006/relationships/slideLayout" Target="../slideLayouts/slideLayout1240.xml"/><Relationship Id="rId78" Type="http://schemas.openxmlformats.org/officeDocument/2006/relationships/slideLayout" Target="../slideLayouts/slideLayout1245.xml"/><Relationship Id="rId94" Type="http://schemas.openxmlformats.org/officeDocument/2006/relationships/slideLayout" Target="../slideLayouts/slideLayout1261.xml"/><Relationship Id="rId99" Type="http://schemas.openxmlformats.org/officeDocument/2006/relationships/slideLayout" Target="../slideLayouts/slideLayout1266.xml"/><Relationship Id="rId101" Type="http://schemas.openxmlformats.org/officeDocument/2006/relationships/slideLayout" Target="../slideLayouts/slideLayout1268.xml"/><Relationship Id="rId122" Type="http://schemas.openxmlformats.org/officeDocument/2006/relationships/slideLayout" Target="../slideLayouts/slideLayout1289.xml"/><Relationship Id="rId143" Type="http://schemas.openxmlformats.org/officeDocument/2006/relationships/slideLayout" Target="../slideLayouts/slideLayout1310.xml"/><Relationship Id="rId148" Type="http://schemas.openxmlformats.org/officeDocument/2006/relationships/slideLayout" Target="../slideLayouts/slideLayout1315.xml"/><Relationship Id="rId164" Type="http://schemas.openxmlformats.org/officeDocument/2006/relationships/slideLayout" Target="../slideLayouts/slideLayout1331.xml"/><Relationship Id="rId169" Type="http://schemas.openxmlformats.org/officeDocument/2006/relationships/slideLayout" Target="../slideLayouts/slideLayout1336.xml"/><Relationship Id="rId185" Type="http://schemas.openxmlformats.org/officeDocument/2006/relationships/slideLayout" Target="../slideLayouts/slideLayout1352.xml"/><Relationship Id="rId4" Type="http://schemas.openxmlformats.org/officeDocument/2006/relationships/slideLayout" Target="../slideLayouts/slideLayout1171.xml"/><Relationship Id="rId9" Type="http://schemas.openxmlformats.org/officeDocument/2006/relationships/slideLayout" Target="../slideLayouts/slideLayout1176.xml"/><Relationship Id="rId180" Type="http://schemas.openxmlformats.org/officeDocument/2006/relationships/slideLayout" Target="../slideLayouts/slideLayout1347.xml"/><Relationship Id="rId210" Type="http://schemas.openxmlformats.org/officeDocument/2006/relationships/slideLayout" Target="../slideLayouts/slideLayout1377.xml"/><Relationship Id="rId215" Type="http://schemas.openxmlformats.org/officeDocument/2006/relationships/slideLayout" Target="../slideLayouts/slideLayout1382.xml"/><Relationship Id="rId26" Type="http://schemas.openxmlformats.org/officeDocument/2006/relationships/slideLayout" Target="../slideLayouts/slideLayout1193.xml"/><Relationship Id="rId231" Type="http://schemas.openxmlformats.org/officeDocument/2006/relationships/slideLayout" Target="../slideLayouts/slideLayout1398.xml"/><Relationship Id="rId47" Type="http://schemas.openxmlformats.org/officeDocument/2006/relationships/slideLayout" Target="../slideLayouts/slideLayout1214.xml"/><Relationship Id="rId68" Type="http://schemas.openxmlformats.org/officeDocument/2006/relationships/slideLayout" Target="../slideLayouts/slideLayout1235.xml"/><Relationship Id="rId89" Type="http://schemas.openxmlformats.org/officeDocument/2006/relationships/slideLayout" Target="../slideLayouts/slideLayout1256.xml"/><Relationship Id="rId112" Type="http://schemas.openxmlformats.org/officeDocument/2006/relationships/slideLayout" Target="../slideLayouts/slideLayout1279.xml"/><Relationship Id="rId133" Type="http://schemas.openxmlformats.org/officeDocument/2006/relationships/slideLayout" Target="../slideLayouts/slideLayout1300.xml"/><Relationship Id="rId154" Type="http://schemas.openxmlformats.org/officeDocument/2006/relationships/slideLayout" Target="../slideLayouts/slideLayout1321.xml"/><Relationship Id="rId175" Type="http://schemas.openxmlformats.org/officeDocument/2006/relationships/slideLayout" Target="../slideLayouts/slideLayout1342.xml"/><Relationship Id="rId196" Type="http://schemas.openxmlformats.org/officeDocument/2006/relationships/slideLayout" Target="../slideLayouts/slideLayout1363.xml"/><Relationship Id="rId200" Type="http://schemas.openxmlformats.org/officeDocument/2006/relationships/slideLayout" Target="../slideLayouts/slideLayout1367.xml"/><Relationship Id="rId16" Type="http://schemas.openxmlformats.org/officeDocument/2006/relationships/slideLayout" Target="../slideLayouts/slideLayout1183.xml"/><Relationship Id="rId221" Type="http://schemas.openxmlformats.org/officeDocument/2006/relationships/slideLayout" Target="../slideLayouts/slideLayout1388.xml"/><Relationship Id="rId37" Type="http://schemas.openxmlformats.org/officeDocument/2006/relationships/slideLayout" Target="../slideLayouts/slideLayout1204.xml"/><Relationship Id="rId58" Type="http://schemas.openxmlformats.org/officeDocument/2006/relationships/slideLayout" Target="../slideLayouts/slideLayout1225.xml"/><Relationship Id="rId79" Type="http://schemas.openxmlformats.org/officeDocument/2006/relationships/slideLayout" Target="../slideLayouts/slideLayout1246.xml"/><Relationship Id="rId102" Type="http://schemas.openxmlformats.org/officeDocument/2006/relationships/slideLayout" Target="../slideLayouts/slideLayout1269.xml"/><Relationship Id="rId123" Type="http://schemas.openxmlformats.org/officeDocument/2006/relationships/slideLayout" Target="../slideLayouts/slideLayout1290.xml"/><Relationship Id="rId144" Type="http://schemas.openxmlformats.org/officeDocument/2006/relationships/slideLayout" Target="../slideLayouts/slideLayout1311.xml"/><Relationship Id="rId90" Type="http://schemas.openxmlformats.org/officeDocument/2006/relationships/slideLayout" Target="../slideLayouts/slideLayout1257.xml"/><Relationship Id="rId165" Type="http://schemas.openxmlformats.org/officeDocument/2006/relationships/slideLayout" Target="../slideLayouts/slideLayout1332.xml"/><Relationship Id="rId186" Type="http://schemas.openxmlformats.org/officeDocument/2006/relationships/slideLayout" Target="../slideLayouts/slideLayout1353.xml"/><Relationship Id="rId211" Type="http://schemas.openxmlformats.org/officeDocument/2006/relationships/slideLayout" Target="../slideLayouts/slideLayout1378.xml"/><Relationship Id="rId232" Type="http://schemas.openxmlformats.org/officeDocument/2006/relationships/theme" Target="../theme/theme8.xml"/><Relationship Id="rId27" Type="http://schemas.openxmlformats.org/officeDocument/2006/relationships/slideLayout" Target="../slideLayouts/slideLayout1194.xml"/><Relationship Id="rId48" Type="http://schemas.openxmlformats.org/officeDocument/2006/relationships/slideLayout" Target="../slideLayouts/slideLayout1215.xml"/><Relationship Id="rId69" Type="http://schemas.openxmlformats.org/officeDocument/2006/relationships/slideLayout" Target="../slideLayouts/slideLayout1236.xml"/><Relationship Id="rId113" Type="http://schemas.openxmlformats.org/officeDocument/2006/relationships/slideLayout" Target="../slideLayouts/slideLayout1280.xml"/><Relationship Id="rId134" Type="http://schemas.openxmlformats.org/officeDocument/2006/relationships/slideLayout" Target="../slideLayouts/slideLayout1301.xml"/><Relationship Id="rId80" Type="http://schemas.openxmlformats.org/officeDocument/2006/relationships/slideLayout" Target="../slideLayouts/slideLayout1247.xml"/><Relationship Id="rId155" Type="http://schemas.openxmlformats.org/officeDocument/2006/relationships/slideLayout" Target="../slideLayouts/slideLayout1322.xml"/><Relationship Id="rId176" Type="http://schemas.openxmlformats.org/officeDocument/2006/relationships/slideLayout" Target="../slideLayouts/slideLayout1343.xml"/><Relationship Id="rId197" Type="http://schemas.openxmlformats.org/officeDocument/2006/relationships/slideLayout" Target="../slideLayouts/slideLayout1364.xml"/><Relationship Id="rId201" Type="http://schemas.openxmlformats.org/officeDocument/2006/relationships/slideLayout" Target="../slideLayouts/slideLayout1368.xml"/><Relationship Id="rId222" Type="http://schemas.openxmlformats.org/officeDocument/2006/relationships/slideLayout" Target="../slideLayouts/slideLayout1389.xml"/><Relationship Id="rId17" Type="http://schemas.openxmlformats.org/officeDocument/2006/relationships/slideLayout" Target="../slideLayouts/slideLayout1184.xml"/><Relationship Id="rId38" Type="http://schemas.openxmlformats.org/officeDocument/2006/relationships/slideLayout" Target="../slideLayouts/slideLayout1205.xml"/><Relationship Id="rId59" Type="http://schemas.openxmlformats.org/officeDocument/2006/relationships/slideLayout" Target="../slideLayouts/slideLayout1226.xml"/><Relationship Id="rId103" Type="http://schemas.openxmlformats.org/officeDocument/2006/relationships/slideLayout" Target="../slideLayouts/slideLayout1270.xml"/><Relationship Id="rId124" Type="http://schemas.openxmlformats.org/officeDocument/2006/relationships/slideLayout" Target="../slideLayouts/slideLayout1291.xml"/><Relationship Id="rId70" Type="http://schemas.openxmlformats.org/officeDocument/2006/relationships/slideLayout" Target="../slideLayouts/slideLayout1237.xml"/><Relationship Id="rId91" Type="http://schemas.openxmlformats.org/officeDocument/2006/relationships/slideLayout" Target="../slideLayouts/slideLayout1258.xml"/><Relationship Id="rId145" Type="http://schemas.openxmlformats.org/officeDocument/2006/relationships/slideLayout" Target="../slideLayouts/slideLayout1312.xml"/><Relationship Id="rId166" Type="http://schemas.openxmlformats.org/officeDocument/2006/relationships/slideLayout" Target="../slideLayouts/slideLayout1333.xml"/><Relationship Id="rId187" Type="http://schemas.openxmlformats.org/officeDocument/2006/relationships/slideLayout" Target="../slideLayouts/slideLayout1354.xml"/><Relationship Id="rId1" Type="http://schemas.openxmlformats.org/officeDocument/2006/relationships/slideLayout" Target="../slideLayouts/slideLayout1168.xml"/><Relationship Id="rId212" Type="http://schemas.openxmlformats.org/officeDocument/2006/relationships/slideLayout" Target="../slideLayouts/slideLayout1379.xml"/><Relationship Id="rId28" Type="http://schemas.openxmlformats.org/officeDocument/2006/relationships/slideLayout" Target="../slideLayouts/slideLayout1195.xml"/><Relationship Id="rId49" Type="http://schemas.openxmlformats.org/officeDocument/2006/relationships/slideLayout" Target="../slideLayouts/slideLayout1216.xml"/><Relationship Id="rId114" Type="http://schemas.openxmlformats.org/officeDocument/2006/relationships/slideLayout" Target="../slideLayouts/slideLayout1281.xml"/><Relationship Id="rId60" Type="http://schemas.openxmlformats.org/officeDocument/2006/relationships/slideLayout" Target="../slideLayouts/slideLayout1227.xml"/><Relationship Id="rId81" Type="http://schemas.openxmlformats.org/officeDocument/2006/relationships/slideLayout" Target="../slideLayouts/slideLayout1248.xml"/><Relationship Id="rId135" Type="http://schemas.openxmlformats.org/officeDocument/2006/relationships/slideLayout" Target="../slideLayouts/slideLayout1302.xml"/><Relationship Id="rId156" Type="http://schemas.openxmlformats.org/officeDocument/2006/relationships/slideLayout" Target="../slideLayouts/slideLayout1323.xml"/><Relationship Id="rId177" Type="http://schemas.openxmlformats.org/officeDocument/2006/relationships/slideLayout" Target="../slideLayouts/slideLayout1344.xml"/><Relationship Id="rId198" Type="http://schemas.openxmlformats.org/officeDocument/2006/relationships/slideLayout" Target="../slideLayouts/slideLayout1365.xml"/><Relationship Id="rId202" Type="http://schemas.openxmlformats.org/officeDocument/2006/relationships/slideLayout" Target="../slideLayouts/slideLayout1369.xml"/><Relationship Id="rId223" Type="http://schemas.openxmlformats.org/officeDocument/2006/relationships/slideLayout" Target="../slideLayouts/slideLayout1390.xml"/><Relationship Id="rId18" Type="http://schemas.openxmlformats.org/officeDocument/2006/relationships/slideLayout" Target="../slideLayouts/slideLayout1185.xml"/><Relationship Id="rId39" Type="http://schemas.openxmlformats.org/officeDocument/2006/relationships/slideLayout" Target="../slideLayouts/slideLayout1206.xml"/><Relationship Id="rId50" Type="http://schemas.openxmlformats.org/officeDocument/2006/relationships/slideLayout" Target="../slideLayouts/slideLayout1217.xml"/><Relationship Id="rId104" Type="http://schemas.openxmlformats.org/officeDocument/2006/relationships/slideLayout" Target="../slideLayouts/slideLayout1271.xml"/><Relationship Id="rId125" Type="http://schemas.openxmlformats.org/officeDocument/2006/relationships/slideLayout" Target="../slideLayouts/slideLayout1292.xml"/><Relationship Id="rId146" Type="http://schemas.openxmlformats.org/officeDocument/2006/relationships/slideLayout" Target="../slideLayouts/slideLayout1313.xml"/><Relationship Id="rId167" Type="http://schemas.openxmlformats.org/officeDocument/2006/relationships/slideLayout" Target="../slideLayouts/slideLayout1334.xml"/><Relationship Id="rId188" Type="http://schemas.openxmlformats.org/officeDocument/2006/relationships/slideLayout" Target="../slideLayouts/slideLayout1355.xml"/><Relationship Id="rId71" Type="http://schemas.openxmlformats.org/officeDocument/2006/relationships/slideLayout" Target="../slideLayouts/slideLayout1238.xml"/><Relationship Id="rId92" Type="http://schemas.openxmlformats.org/officeDocument/2006/relationships/slideLayout" Target="../slideLayouts/slideLayout1259.xml"/><Relationship Id="rId213" Type="http://schemas.openxmlformats.org/officeDocument/2006/relationships/slideLayout" Target="../slideLayouts/slideLayout1380.xml"/><Relationship Id="rId2" Type="http://schemas.openxmlformats.org/officeDocument/2006/relationships/slideLayout" Target="../slideLayouts/slideLayout1169.xml"/><Relationship Id="rId29" Type="http://schemas.openxmlformats.org/officeDocument/2006/relationships/slideLayout" Target="../slideLayouts/slideLayout1196.xml"/><Relationship Id="rId40" Type="http://schemas.openxmlformats.org/officeDocument/2006/relationships/slideLayout" Target="../slideLayouts/slideLayout1207.xml"/><Relationship Id="rId115" Type="http://schemas.openxmlformats.org/officeDocument/2006/relationships/slideLayout" Target="../slideLayouts/slideLayout1282.xml"/><Relationship Id="rId136" Type="http://schemas.openxmlformats.org/officeDocument/2006/relationships/slideLayout" Target="../slideLayouts/slideLayout1303.xml"/><Relationship Id="rId157" Type="http://schemas.openxmlformats.org/officeDocument/2006/relationships/slideLayout" Target="../slideLayouts/slideLayout1324.xml"/><Relationship Id="rId178" Type="http://schemas.openxmlformats.org/officeDocument/2006/relationships/slideLayout" Target="../slideLayouts/slideLayout1345.xml"/><Relationship Id="rId61" Type="http://schemas.openxmlformats.org/officeDocument/2006/relationships/slideLayout" Target="../slideLayouts/slideLayout1228.xml"/><Relationship Id="rId82" Type="http://schemas.openxmlformats.org/officeDocument/2006/relationships/slideLayout" Target="../slideLayouts/slideLayout1249.xml"/><Relationship Id="rId199" Type="http://schemas.openxmlformats.org/officeDocument/2006/relationships/slideLayout" Target="../slideLayouts/slideLayout1366.xml"/><Relationship Id="rId203" Type="http://schemas.openxmlformats.org/officeDocument/2006/relationships/slideLayout" Target="../slideLayouts/slideLayout1370.xml"/><Relationship Id="rId19" Type="http://schemas.openxmlformats.org/officeDocument/2006/relationships/slideLayout" Target="../slideLayouts/slideLayout1186.xml"/><Relationship Id="rId224" Type="http://schemas.openxmlformats.org/officeDocument/2006/relationships/slideLayout" Target="../slideLayouts/slideLayout1391.xml"/><Relationship Id="rId30" Type="http://schemas.openxmlformats.org/officeDocument/2006/relationships/slideLayout" Target="../slideLayouts/slideLayout1197.xml"/><Relationship Id="rId105" Type="http://schemas.openxmlformats.org/officeDocument/2006/relationships/slideLayout" Target="../slideLayouts/slideLayout1272.xml"/><Relationship Id="rId126" Type="http://schemas.openxmlformats.org/officeDocument/2006/relationships/slideLayout" Target="../slideLayouts/slideLayout1293.xml"/><Relationship Id="rId147" Type="http://schemas.openxmlformats.org/officeDocument/2006/relationships/slideLayout" Target="../slideLayouts/slideLayout1314.xml"/><Relationship Id="rId168" Type="http://schemas.openxmlformats.org/officeDocument/2006/relationships/slideLayout" Target="../slideLayouts/slideLayout1335.xml"/><Relationship Id="rId51" Type="http://schemas.openxmlformats.org/officeDocument/2006/relationships/slideLayout" Target="../slideLayouts/slideLayout1218.xml"/><Relationship Id="rId72" Type="http://schemas.openxmlformats.org/officeDocument/2006/relationships/slideLayout" Target="../slideLayouts/slideLayout1239.xml"/><Relationship Id="rId93" Type="http://schemas.openxmlformats.org/officeDocument/2006/relationships/slideLayout" Target="../slideLayouts/slideLayout1260.xml"/><Relationship Id="rId189" Type="http://schemas.openxmlformats.org/officeDocument/2006/relationships/slideLayout" Target="../slideLayouts/slideLayout1356.xml"/><Relationship Id="rId3" Type="http://schemas.openxmlformats.org/officeDocument/2006/relationships/slideLayout" Target="../slideLayouts/slideLayout1170.xml"/><Relationship Id="rId214" Type="http://schemas.openxmlformats.org/officeDocument/2006/relationships/slideLayout" Target="../slideLayouts/slideLayout13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6.xml"/><Relationship Id="rId13" Type="http://schemas.openxmlformats.org/officeDocument/2006/relationships/slideLayout" Target="../slideLayouts/slideLayout1411.xml"/><Relationship Id="rId3" Type="http://schemas.openxmlformats.org/officeDocument/2006/relationships/slideLayout" Target="../slideLayouts/slideLayout1401.xml"/><Relationship Id="rId7" Type="http://schemas.openxmlformats.org/officeDocument/2006/relationships/slideLayout" Target="../slideLayouts/slideLayout1405.xml"/><Relationship Id="rId12" Type="http://schemas.openxmlformats.org/officeDocument/2006/relationships/slideLayout" Target="../slideLayouts/slideLayout1410.xml"/><Relationship Id="rId2" Type="http://schemas.openxmlformats.org/officeDocument/2006/relationships/slideLayout" Target="../slideLayouts/slideLayout1400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399.xml"/><Relationship Id="rId6" Type="http://schemas.openxmlformats.org/officeDocument/2006/relationships/slideLayout" Target="../slideLayouts/slideLayout1404.xml"/><Relationship Id="rId11" Type="http://schemas.openxmlformats.org/officeDocument/2006/relationships/slideLayout" Target="../slideLayouts/slideLayout1409.xml"/><Relationship Id="rId5" Type="http://schemas.openxmlformats.org/officeDocument/2006/relationships/slideLayout" Target="../slideLayouts/slideLayout1403.xml"/><Relationship Id="rId15" Type="http://schemas.openxmlformats.org/officeDocument/2006/relationships/slideLayout" Target="../slideLayouts/slideLayout1413.xml"/><Relationship Id="rId10" Type="http://schemas.openxmlformats.org/officeDocument/2006/relationships/slideLayout" Target="../slideLayouts/slideLayout1408.xml"/><Relationship Id="rId4" Type="http://schemas.openxmlformats.org/officeDocument/2006/relationships/slideLayout" Target="../slideLayouts/slideLayout1402.xml"/><Relationship Id="rId9" Type="http://schemas.openxmlformats.org/officeDocument/2006/relationships/slideLayout" Target="../slideLayouts/slideLayout1407.xml"/><Relationship Id="rId14" Type="http://schemas.openxmlformats.org/officeDocument/2006/relationships/slideLayout" Target="../slideLayouts/slideLayout14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8950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80" r:id="rId1"/>
    <p:sldLayoutId id="2147488081" r:id="rId2"/>
    <p:sldLayoutId id="2147488082" r:id="rId3"/>
    <p:sldLayoutId id="2147488083" r:id="rId4"/>
    <p:sldLayoutId id="2147488084" r:id="rId5"/>
    <p:sldLayoutId id="2147488085" r:id="rId6"/>
    <p:sldLayoutId id="2147488086" r:id="rId7"/>
    <p:sldLayoutId id="2147488087" r:id="rId8"/>
    <p:sldLayoutId id="2147487028" r:id="rId9"/>
    <p:sldLayoutId id="2147487029" r:id="rId10"/>
    <p:sldLayoutId id="2147487030" r:id="rId11"/>
    <p:sldLayoutId id="2147487031" r:id="rId12"/>
    <p:sldLayoutId id="2147487032" r:id="rId13"/>
    <p:sldLayoutId id="2147487033" r:id="rId14"/>
    <p:sldLayoutId id="2147487034" r:id="rId15"/>
    <p:sldLayoutId id="2147487035" r:id="rId16"/>
    <p:sldLayoutId id="2147487036" r:id="rId17"/>
    <p:sldLayoutId id="2147487037" r:id="rId18"/>
    <p:sldLayoutId id="2147487038" r:id="rId19"/>
    <p:sldLayoutId id="2147487178" r:id="rId20"/>
    <p:sldLayoutId id="2147487179" r:id="rId21"/>
    <p:sldLayoutId id="2147488088" r:id="rId22"/>
    <p:sldLayoutId id="2147488089" r:id="rId23"/>
    <p:sldLayoutId id="2147488090" r:id="rId24"/>
    <p:sldLayoutId id="2147488091" r:id="rId25"/>
    <p:sldLayoutId id="2147488092" r:id="rId26"/>
    <p:sldLayoutId id="2147488093" r:id="rId27"/>
    <p:sldLayoutId id="2147488094" r:id="rId28"/>
    <p:sldLayoutId id="2147488095" r:id="rId29"/>
    <p:sldLayoutId id="2147488096" r:id="rId30"/>
    <p:sldLayoutId id="2147488097" r:id="rId31"/>
    <p:sldLayoutId id="2147488098" r:id="rId32"/>
    <p:sldLayoutId id="2147488099" r:id="rId33"/>
    <p:sldLayoutId id="2147488100" r:id="rId34"/>
    <p:sldLayoutId id="2147487180" r:id="rId35"/>
    <p:sldLayoutId id="2147483975" r:id="rId36"/>
    <p:sldLayoutId id="2147487039" r:id="rId37"/>
    <p:sldLayoutId id="2147487182" r:id="rId38"/>
    <p:sldLayoutId id="2147487183" r:id="rId39"/>
    <p:sldLayoutId id="2147487184" r:id="rId40"/>
    <p:sldLayoutId id="2147487185" r:id="rId41"/>
    <p:sldLayoutId id="2147487040" r:id="rId42"/>
    <p:sldLayoutId id="2147487041" r:id="rId43"/>
    <p:sldLayoutId id="2147487188" r:id="rId44"/>
    <p:sldLayoutId id="2147487189" r:id="rId45"/>
    <p:sldLayoutId id="2147487190" r:id="rId46"/>
    <p:sldLayoutId id="2147487042" r:id="rId47"/>
    <p:sldLayoutId id="2147488225" r:id="rId48"/>
    <p:sldLayoutId id="2147488226" r:id="rId49"/>
    <p:sldLayoutId id="2147487043" r:id="rId50"/>
    <p:sldLayoutId id="2147487044" r:id="rId51"/>
    <p:sldLayoutId id="2147487045" r:id="rId52"/>
    <p:sldLayoutId id="2147487046" r:id="rId53"/>
    <p:sldLayoutId id="2147487047" r:id="rId54"/>
    <p:sldLayoutId id="2147487048" r:id="rId55"/>
    <p:sldLayoutId id="2147487049" r:id="rId56"/>
    <p:sldLayoutId id="2147487050" r:id="rId57"/>
    <p:sldLayoutId id="2147487051" r:id="rId58"/>
    <p:sldLayoutId id="2147488101" r:id="rId59"/>
    <p:sldLayoutId id="2147487052" r:id="rId60"/>
    <p:sldLayoutId id="2147487053" r:id="rId61"/>
    <p:sldLayoutId id="2147487205" r:id="rId62"/>
    <p:sldLayoutId id="2147487207" r:id="rId63"/>
    <p:sldLayoutId id="2147487208" r:id="rId64"/>
    <p:sldLayoutId id="2147487209" r:id="rId65"/>
    <p:sldLayoutId id="2147487210" r:id="rId66"/>
    <p:sldLayoutId id="2147487211" r:id="rId67"/>
    <p:sldLayoutId id="2147487212" r:id="rId68"/>
    <p:sldLayoutId id="2147487213" r:id="rId69"/>
    <p:sldLayoutId id="2147487214" r:id="rId70"/>
    <p:sldLayoutId id="2147488102" r:id="rId71"/>
    <p:sldLayoutId id="2147487216" r:id="rId72"/>
    <p:sldLayoutId id="2147487217" r:id="rId73"/>
    <p:sldLayoutId id="2147487218" r:id="rId74"/>
    <p:sldLayoutId id="2147487219" r:id="rId75"/>
    <p:sldLayoutId id="2147487220" r:id="rId76"/>
    <p:sldLayoutId id="2147487221" r:id="rId77"/>
    <p:sldLayoutId id="2147487222" r:id="rId78"/>
    <p:sldLayoutId id="2147487223" r:id="rId79"/>
    <p:sldLayoutId id="2147487224" r:id="rId80"/>
    <p:sldLayoutId id="2147488103" r:id="rId81"/>
    <p:sldLayoutId id="2147487215" r:id="rId82"/>
    <p:sldLayoutId id="2147487225" r:id="rId83"/>
    <p:sldLayoutId id="2147487226" r:id="rId84"/>
    <p:sldLayoutId id="2147487227" r:id="rId85"/>
    <p:sldLayoutId id="2147487228" r:id="rId86"/>
    <p:sldLayoutId id="2147487229" r:id="rId87"/>
    <p:sldLayoutId id="2147487058" r:id="rId88"/>
    <p:sldLayoutId id="2147487231" r:id="rId89"/>
    <p:sldLayoutId id="2147487232" r:id="rId90"/>
    <p:sldLayoutId id="2147487233" r:id="rId91"/>
    <p:sldLayoutId id="2147487234" r:id="rId92"/>
    <p:sldLayoutId id="2147487235" r:id="rId93"/>
    <p:sldLayoutId id="2147487236" r:id="rId94"/>
    <p:sldLayoutId id="2147487237" r:id="rId95"/>
    <p:sldLayoutId id="2147487059" r:id="rId96"/>
    <p:sldLayoutId id="2147487060" r:id="rId97"/>
    <p:sldLayoutId id="2147487061" r:id="rId98"/>
    <p:sldLayoutId id="2147487062" r:id="rId99"/>
    <p:sldLayoutId id="2147487242" r:id="rId100"/>
    <p:sldLayoutId id="2147487063" r:id="rId101"/>
    <p:sldLayoutId id="2147487244" r:id="rId102"/>
    <p:sldLayoutId id="2147487245" r:id="rId103"/>
    <p:sldLayoutId id="2147487246" r:id="rId104"/>
    <p:sldLayoutId id="2147487064" r:id="rId105"/>
    <p:sldLayoutId id="2147487248" r:id="rId106"/>
    <p:sldLayoutId id="2147487249" r:id="rId107"/>
    <p:sldLayoutId id="2147487250" r:id="rId108"/>
    <p:sldLayoutId id="2147487251" r:id="rId109"/>
    <p:sldLayoutId id="2147487252" r:id="rId110"/>
    <p:sldLayoutId id="2147487253" r:id="rId111"/>
    <p:sldLayoutId id="2147487065" r:id="rId112"/>
    <p:sldLayoutId id="2147487066" r:id="rId113"/>
    <p:sldLayoutId id="2147487067" r:id="rId114"/>
    <p:sldLayoutId id="2147487068" r:id="rId115"/>
    <p:sldLayoutId id="2147487069" r:id="rId116"/>
    <p:sldLayoutId id="2147487070" r:id="rId117"/>
    <p:sldLayoutId id="2147487071" r:id="rId118"/>
    <p:sldLayoutId id="2147487072" r:id="rId119"/>
    <p:sldLayoutId id="2147487073" r:id="rId120"/>
    <p:sldLayoutId id="2147487074" r:id="rId121"/>
    <p:sldLayoutId id="2147487075" r:id="rId122"/>
    <p:sldLayoutId id="2147487155" r:id="rId123"/>
    <p:sldLayoutId id="2147487265" r:id="rId124"/>
    <p:sldLayoutId id="2147487266" r:id="rId125"/>
    <p:sldLayoutId id="2147487076" r:id="rId126"/>
    <p:sldLayoutId id="2147487078" r:id="rId127"/>
    <p:sldLayoutId id="2147487270" r:id="rId128"/>
    <p:sldLayoutId id="2147487271" r:id="rId129"/>
    <p:sldLayoutId id="2147487272" r:id="rId130"/>
    <p:sldLayoutId id="2147487273" r:id="rId131"/>
    <p:sldLayoutId id="2147487274" r:id="rId132"/>
    <p:sldLayoutId id="2147488126" r:id="rId133"/>
    <p:sldLayoutId id="2147488127" r:id="rId134"/>
    <p:sldLayoutId id="2147488128" r:id="rId135"/>
    <p:sldLayoutId id="2147487079" r:id="rId136"/>
    <p:sldLayoutId id="2147487080" r:id="rId137"/>
    <p:sldLayoutId id="2147487081" r:id="rId138"/>
    <p:sldLayoutId id="2147487082" r:id="rId139"/>
    <p:sldLayoutId id="2147487083" r:id="rId140"/>
    <p:sldLayoutId id="2147487084" r:id="rId141"/>
    <p:sldLayoutId id="2147487085" r:id="rId142"/>
    <p:sldLayoutId id="2147487086" r:id="rId143"/>
    <p:sldLayoutId id="2147487087" r:id="rId144"/>
    <p:sldLayoutId id="2147487088" r:id="rId145"/>
    <p:sldLayoutId id="2147487089" r:id="rId146"/>
    <p:sldLayoutId id="2147487090" r:id="rId147"/>
    <p:sldLayoutId id="2147488129" r:id="rId148"/>
    <p:sldLayoutId id="2147488130" r:id="rId149"/>
    <p:sldLayoutId id="2147488131" r:id="rId150"/>
    <p:sldLayoutId id="2147488132" r:id="rId151"/>
    <p:sldLayoutId id="2147488133" r:id="rId152"/>
    <p:sldLayoutId id="2147488134" r:id="rId153"/>
    <p:sldLayoutId id="2147488135" r:id="rId154"/>
    <p:sldLayoutId id="2147488136" r:id="rId155"/>
    <p:sldLayoutId id="2147488137" r:id="rId156"/>
    <p:sldLayoutId id="2147488138" r:id="rId157"/>
    <p:sldLayoutId id="2147487301" r:id="rId158"/>
    <p:sldLayoutId id="2147487092" r:id="rId159"/>
    <p:sldLayoutId id="2147488140" r:id="rId160"/>
    <p:sldLayoutId id="2147487304" r:id="rId161"/>
    <p:sldLayoutId id="2147487305" r:id="rId162"/>
    <p:sldLayoutId id="2147487306" r:id="rId163"/>
    <p:sldLayoutId id="2147487307" r:id="rId164"/>
    <p:sldLayoutId id="2147488141" r:id="rId165"/>
    <p:sldLayoutId id="2147487093" r:id="rId166"/>
    <p:sldLayoutId id="2147487310" r:id="rId167"/>
    <p:sldLayoutId id="2147488104" r:id="rId168"/>
    <p:sldLayoutId id="2147487311" r:id="rId169"/>
    <p:sldLayoutId id="2147487116" r:id="rId170"/>
    <p:sldLayoutId id="2147487117" r:id="rId171"/>
    <p:sldLayoutId id="2147487096" r:id="rId172"/>
    <p:sldLayoutId id="2147487098" r:id="rId173"/>
    <p:sldLayoutId id="2147487099" r:id="rId174"/>
    <p:sldLayoutId id="2147487104" r:id="rId175"/>
    <p:sldLayoutId id="2147488142" r:id="rId176"/>
    <p:sldLayoutId id="2147487105" r:id="rId177"/>
    <p:sldLayoutId id="2147487106" r:id="rId178"/>
    <p:sldLayoutId id="2147487107" r:id="rId179"/>
    <p:sldLayoutId id="2147487108" r:id="rId180"/>
    <p:sldLayoutId id="2147487109" r:id="rId181"/>
    <p:sldLayoutId id="2147487110" r:id="rId182"/>
    <p:sldLayoutId id="2147487111" r:id="rId183"/>
    <p:sldLayoutId id="2147487112" r:id="rId184"/>
    <p:sldLayoutId id="2147487113" r:id="rId185"/>
    <p:sldLayoutId id="2147487118" r:id="rId186"/>
    <p:sldLayoutId id="2147487119" r:id="rId187"/>
    <p:sldLayoutId id="2147487120" r:id="rId188"/>
    <p:sldLayoutId id="2147487121" r:id="rId189"/>
    <p:sldLayoutId id="2147487122" r:id="rId190"/>
    <p:sldLayoutId id="2147487123" r:id="rId191"/>
    <p:sldLayoutId id="2147487346" r:id="rId192"/>
    <p:sldLayoutId id="2147487124" r:id="rId193"/>
    <p:sldLayoutId id="2147487348" r:id="rId194"/>
    <p:sldLayoutId id="2147487349" r:id="rId195"/>
    <p:sldLayoutId id="2147488180" r:id="rId196"/>
    <p:sldLayoutId id="2147483848" r:id="rId197"/>
    <p:sldLayoutId id="2147483849" r:id="rId198"/>
    <p:sldLayoutId id="2147483850" r:id="rId199"/>
    <p:sldLayoutId id="2147483851" r:id="rId200"/>
    <p:sldLayoutId id="2147483852" r:id="rId201"/>
    <p:sldLayoutId id="2147483853" r:id="rId202"/>
    <p:sldLayoutId id="2147483854" r:id="rId203"/>
    <p:sldLayoutId id="2147483855" r:id="rId204"/>
    <p:sldLayoutId id="2147483856" r:id="rId205"/>
    <p:sldLayoutId id="2147483857" r:id="rId206"/>
    <p:sldLayoutId id="2147483858" r:id="rId207"/>
    <p:sldLayoutId id="2147483859" r:id="rId208"/>
    <p:sldLayoutId id="2147487005" r:id="rId209"/>
    <p:sldLayoutId id="2147488182" r:id="rId210"/>
    <p:sldLayoutId id="2147488183" r:id="rId211"/>
    <p:sldLayoutId id="2147488184" r:id="rId212"/>
    <p:sldLayoutId id="2147488185" r:id="rId213"/>
    <p:sldLayoutId id="2147488186" r:id="rId214"/>
    <p:sldLayoutId id="2147488187" r:id="rId215"/>
    <p:sldLayoutId id="2147488188" r:id="rId216"/>
    <p:sldLayoutId id="2147483868" r:id="rId217"/>
    <p:sldLayoutId id="2147488189" r:id="rId218"/>
    <p:sldLayoutId id="2147488190" r:id="rId219"/>
    <p:sldLayoutId id="2147488191" r:id="rId220"/>
    <p:sldLayoutId id="2147488192" r:id="rId221"/>
    <p:sldLayoutId id="2147488193" r:id="rId222"/>
    <p:sldLayoutId id="2147488194" r:id="rId223"/>
    <p:sldLayoutId id="2147488195" r:id="rId224"/>
    <p:sldLayoutId id="2147488196" r:id="rId225"/>
    <p:sldLayoutId id="2147483877" r:id="rId226"/>
    <p:sldLayoutId id="2147483878" r:id="rId227"/>
    <p:sldLayoutId id="2147488197" r:id="rId228"/>
    <p:sldLayoutId id="2147488198" r:id="rId229"/>
    <p:sldLayoutId id="2147488199" r:id="rId230"/>
    <p:sldLayoutId id="2147488200" r:id="rId231"/>
    <p:sldLayoutId id="2147488201" r:id="rId232"/>
    <p:sldLayoutId id="2147488202" r:id="rId233"/>
    <p:sldLayoutId id="2147483885" r:id="rId234"/>
    <p:sldLayoutId id="2147488203" r:id="rId235"/>
    <p:sldLayoutId id="2147488204" r:id="rId236"/>
    <p:sldLayoutId id="2147488205" r:id="rId237"/>
    <p:sldLayoutId id="2147488206" r:id="rId238"/>
    <p:sldLayoutId id="2147488207" r:id="rId239"/>
    <p:sldLayoutId id="2147488208" r:id="rId240"/>
    <p:sldLayoutId id="2147488209" r:id="rId241"/>
    <p:sldLayoutId id="2147488210" r:id="rId242"/>
    <p:sldLayoutId id="2147488211" r:id="rId243"/>
    <p:sldLayoutId id="2147488212" r:id="rId244"/>
    <p:sldLayoutId id="2147488213" r:id="rId245"/>
    <p:sldLayoutId id="2147488105" r:id="rId246"/>
    <p:sldLayoutId id="2147488106" r:id="rId247"/>
    <p:sldLayoutId id="2147488107" r:id="rId248"/>
    <p:sldLayoutId id="2147488214" r:id="rId249"/>
    <p:sldLayoutId id="2147488215" r:id="rId250"/>
    <p:sldLayoutId id="2147488216" r:id="rId251"/>
    <p:sldLayoutId id="2147488217" r:id="rId252"/>
    <p:sldLayoutId id="2147488218" r:id="rId253"/>
    <p:sldLayoutId id="2147488219" r:id="rId254"/>
    <p:sldLayoutId id="2147488220" r:id="rId255"/>
    <p:sldLayoutId id="2147488221" r:id="rId256"/>
    <p:sldLayoutId id="2147488222" r:id="rId257"/>
    <p:sldLayoutId id="2147488223" r:id="rId258"/>
    <p:sldLayoutId id="2147488224" r:id="rId259"/>
    <p:sldLayoutId id="2147487126" r:id="rId260"/>
    <p:sldLayoutId id="2147487127" r:id="rId261"/>
    <p:sldLayoutId id="2147487128" r:id="rId262"/>
    <p:sldLayoutId id="2147487129" r:id="rId263"/>
    <p:sldLayoutId id="2147487130" r:id="rId264"/>
    <p:sldLayoutId id="2147488108" r:id="rId265"/>
    <p:sldLayoutId id="2147486987" r:id="rId266"/>
    <p:sldLayoutId id="2147487355" r:id="rId267"/>
    <p:sldLayoutId id="2147488154" r:id="rId268"/>
    <p:sldLayoutId id="2147488149" r:id="rId269"/>
    <p:sldLayoutId id="2147487357" r:id="rId270"/>
    <p:sldLayoutId id="2147487358" r:id="rId271"/>
    <p:sldLayoutId id="2147487131" r:id="rId272"/>
    <p:sldLayoutId id="2147487132" r:id="rId273"/>
    <p:sldLayoutId id="2147487133" r:id="rId274"/>
    <p:sldLayoutId id="2147487134" r:id="rId275"/>
    <p:sldLayoutId id="2147487135" r:id="rId276"/>
    <p:sldLayoutId id="2147487136" r:id="rId277"/>
    <p:sldLayoutId id="2147487137" r:id="rId278"/>
    <p:sldLayoutId id="2147487138" r:id="rId279"/>
    <p:sldLayoutId id="2147487139" r:id="rId280"/>
    <p:sldLayoutId id="2147487140" r:id="rId281"/>
    <p:sldLayoutId id="2147487141" r:id="rId282"/>
    <p:sldLayoutId id="2147483934" r:id="rId283"/>
    <p:sldLayoutId id="2147483935" r:id="rId284"/>
    <p:sldLayoutId id="2147483936" r:id="rId285"/>
    <p:sldLayoutId id="2147484384" r:id="rId286"/>
    <p:sldLayoutId id="2147488361" r:id="rId287"/>
    <p:sldLayoutId id="2147484559" r:id="rId288"/>
    <p:sldLayoutId id="2147484385" r:id="rId289"/>
    <p:sldLayoutId id="2147488362" r:id="rId290"/>
    <p:sldLayoutId id="2147484387" r:id="rId291"/>
    <p:sldLayoutId id="2147484363" r:id="rId292"/>
    <p:sldLayoutId id="2147483778" r:id="rId293"/>
    <p:sldLayoutId id="2147483779" r:id="rId294"/>
    <p:sldLayoutId id="2147483777" r:id="rId295"/>
    <p:sldLayoutId id="2147484369" r:id="rId296"/>
    <p:sldLayoutId id="2147484370" r:id="rId297"/>
    <p:sldLayoutId id="2147484371" r:id="rId298"/>
    <p:sldLayoutId id="2147488166" r:id="rId299"/>
    <p:sldLayoutId id="2147484365" r:id="rId300"/>
    <p:sldLayoutId id="2147488167" r:id="rId301"/>
    <p:sldLayoutId id="2147484388" r:id="rId302"/>
    <p:sldLayoutId id="2147484389" r:id="rId303"/>
    <p:sldLayoutId id="2147484390" r:id="rId304"/>
    <p:sldLayoutId id="2147484391" r:id="rId305"/>
    <p:sldLayoutId id="2147484392" r:id="rId306"/>
    <p:sldLayoutId id="2147483833" r:id="rId307"/>
    <p:sldLayoutId id="2147483834" r:id="rId308"/>
    <p:sldLayoutId id="2147483835" r:id="rId309"/>
    <p:sldLayoutId id="2147488176" r:id="rId310"/>
    <p:sldLayoutId id="2147483836" r:id="rId311"/>
    <p:sldLayoutId id="2147483838" r:id="rId312"/>
    <p:sldLayoutId id="2147483839" r:id="rId313"/>
    <p:sldLayoutId id="2147483840" r:id="rId314"/>
    <p:sldLayoutId id="2147485074" r:id="rId315"/>
    <p:sldLayoutId id="2147485075" r:id="rId316"/>
    <p:sldLayoutId id="2147485076" r:id="rId317"/>
    <p:sldLayoutId id="2147485077" r:id="rId318"/>
    <p:sldLayoutId id="2147485078" r:id="rId319"/>
    <p:sldLayoutId id="2147483841" r:id="rId320"/>
    <p:sldLayoutId id="2147483842" r:id="rId321"/>
    <p:sldLayoutId id="2147488179" r:id="rId322"/>
    <p:sldLayoutId id="2147488370" r:id="rId323"/>
    <p:sldLayoutId id="2147488371" r:id="rId324"/>
    <p:sldLayoutId id="2147484269" r:id="rId325"/>
    <p:sldLayoutId id="2147484270" r:id="rId326"/>
    <p:sldLayoutId id="2147484271" r:id="rId327"/>
    <p:sldLayoutId id="2147488363" r:id="rId328"/>
    <p:sldLayoutId id="2147488364" r:id="rId329"/>
    <p:sldLayoutId id="2147484272" r:id="rId330"/>
    <p:sldLayoutId id="2147484273" r:id="rId331"/>
    <p:sldLayoutId id="2147484274" r:id="rId332"/>
    <p:sldLayoutId id="2147484275" r:id="rId333"/>
    <p:sldLayoutId id="2147484276" r:id="rId334"/>
    <p:sldLayoutId id="2147484277" r:id="rId335"/>
    <p:sldLayoutId id="2147484238" r:id="rId336"/>
    <p:sldLayoutId id="2147484278" r:id="rId337"/>
    <p:sldLayoutId id="2147488365" r:id="rId338"/>
    <p:sldLayoutId id="2147484279" r:id="rId339"/>
    <p:sldLayoutId id="2147484280" r:id="rId340"/>
    <p:sldLayoutId id="2147484281" r:id="rId341"/>
    <p:sldLayoutId id="2147484282" r:id="rId342"/>
    <p:sldLayoutId id="2147484283" r:id="rId343"/>
    <p:sldLayoutId id="2147484237" r:id="rId344"/>
    <p:sldLayoutId id="2147484284" r:id="rId345"/>
    <p:sldLayoutId id="2147484355" r:id="rId346"/>
    <p:sldLayoutId id="2147487380" r:id="rId347"/>
    <p:sldLayoutId id="2147484356" r:id="rId348"/>
    <p:sldLayoutId id="2147486989" r:id="rId349"/>
    <p:sldLayoutId id="2147488147" r:id="rId350"/>
    <p:sldLayoutId id="2147484357" r:id="rId351"/>
    <p:sldLayoutId id="2147484358" r:id="rId352"/>
    <p:sldLayoutId id="2147484359" r:id="rId353"/>
    <p:sldLayoutId id="2147484360" r:id="rId354"/>
    <p:sldLayoutId id="2147484361" r:id="rId355"/>
    <p:sldLayoutId id="2147484393" r:id="rId356"/>
    <p:sldLayoutId id="2147484394" r:id="rId357"/>
    <p:sldLayoutId id="2147488171" r:id="rId358"/>
    <p:sldLayoutId id="2147483735" r:id="rId359"/>
    <p:sldLayoutId id="2147484557" r:id="rId360"/>
    <p:sldLayoutId id="2147484200" r:id="rId361"/>
    <p:sldLayoutId id="2147483741" r:id="rId362"/>
    <p:sldLayoutId id="2147484202" r:id="rId363"/>
    <p:sldLayoutId id="2147484203" r:id="rId364"/>
    <p:sldLayoutId id="2147484204" r:id="rId365"/>
    <p:sldLayoutId id="2147484205" r:id="rId366"/>
    <p:sldLayoutId id="2147484206" r:id="rId367"/>
    <p:sldLayoutId id="2147483736" r:id="rId368"/>
    <p:sldLayoutId id="2147484208" r:id="rId369"/>
    <p:sldLayoutId id="2147487168" r:id="rId370"/>
    <p:sldLayoutId id="2147484626" r:id="rId371"/>
    <p:sldLayoutId id="2147484836" r:id="rId372"/>
    <p:sldLayoutId id="2147484837" r:id="rId373"/>
    <p:sldLayoutId id="2147487169" r:id="rId374"/>
    <p:sldLayoutId id="2147484602" r:id="rId375"/>
    <p:sldLayoutId id="2147484603" r:id="rId376"/>
    <p:sldLayoutId id="2147484604" r:id="rId377"/>
    <p:sldLayoutId id="2147484839" r:id="rId378"/>
    <p:sldLayoutId id="2147485847" r:id="rId379"/>
    <p:sldLayoutId id="2147485848" r:id="rId380"/>
    <p:sldLayoutId id="2147485849" r:id="rId381"/>
    <p:sldLayoutId id="2147485850" r:id="rId382"/>
    <p:sldLayoutId id="2147485851" r:id="rId383"/>
    <p:sldLayoutId id="2147485852" r:id="rId384"/>
    <p:sldLayoutId id="2147485853" r:id="rId385"/>
    <p:sldLayoutId id="2147485854" r:id="rId386"/>
    <p:sldLayoutId id="2147485855" r:id="rId387"/>
    <p:sldLayoutId id="2147485856" r:id="rId388"/>
    <p:sldLayoutId id="2147487361" r:id="rId389"/>
    <p:sldLayoutId id="2147485405" r:id="rId390"/>
    <p:sldLayoutId id="2147488114" r:id="rId391"/>
    <p:sldLayoutId id="2147487363" r:id="rId392"/>
    <p:sldLayoutId id="2147485406" r:id="rId393"/>
    <p:sldLayoutId id="2147487364" r:id="rId394"/>
    <p:sldLayoutId id="2147487365" r:id="rId395"/>
    <p:sldLayoutId id="2147487366" r:id="rId396"/>
    <p:sldLayoutId id="2147488152" r:id="rId397"/>
    <p:sldLayoutId id="2147488153" r:id="rId398"/>
    <p:sldLayoutId id="2147488110" r:id="rId399"/>
    <p:sldLayoutId id="2147488144" r:id="rId400"/>
    <p:sldLayoutId id="2147488139" r:id="rId401"/>
    <p:sldLayoutId id="2147484288" r:id="rId402"/>
    <p:sldLayoutId id="2147484289" r:id="rId403"/>
    <p:sldLayoutId id="2147484290" r:id="rId404"/>
    <p:sldLayoutId id="2147484291" r:id="rId405"/>
    <p:sldLayoutId id="2147484292" r:id="rId406"/>
    <p:sldLayoutId id="2147484293" r:id="rId407"/>
    <p:sldLayoutId id="2147484294" r:id="rId408"/>
    <p:sldLayoutId id="2147484295" r:id="rId409"/>
    <p:sldLayoutId id="2147484296" r:id="rId410"/>
    <p:sldLayoutId id="2147485370" r:id="rId411"/>
    <p:sldLayoutId id="2147485872" r:id="rId412"/>
    <p:sldLayoutId id="2147486927" r:id="rId413"/>
    <p:sldLayoutId id="2147485367" r:id="rId414"/>
    <p:sldLayoutId id="2147485368" r:id="rId415"/>
    <p:sldLayoutId id="2147485369" r:id="rId416"/>
    <p:sldLayoutId id="2147485400" r:id="rId417"/>
    <p:sldLayoutId id="2147485401" r:id="rId418"/>
    <p:sldLayoutId id="2147485402" r:id="rId419"/>
    <p:sldLayoutId id="2147485403" r:id="rId420"/>
    <p:sldLayoutId id="2147487350" r:id="rId421"/>
    <p:sldLayoutId id="2147488374" r:id="rId422"/>
    <p:sldLayoutId id="2147488375" r:id="rId423"/>
    <p:sldLayoutId id="2147488376" r:id="rId424"/>
    <p:sldLayoutId id="2147488377" r:id="rId425"/>
    <p:sldLayoutId id="2147483813" r:id="rId426"/>
    <p:sldLayoutId id="2147488378" r:id="rId427"/>
    <p:sldLayoutId id="2147488379" r:id="rId428"/>
    <p:sldLayoutId id="2147488380" r:id="rId429"/>
    <p:sldLayoutId id="2147483676" r:id="rId430"/>
    <p:sldLayoutId id="2147485215" r:id="rId431"/>
    <p:sldLayoutId id="2147485425" r:id="rId432"/>
    <p:sldLayoutId id="2147485903" r:id="rId433"/>
    <p:sldLayoutId id="2147485904" r:id="rId434"/>
    <p:sldLayoutId id="2147488124" r:id="rId435"/>
    <p:sldLayoutId id="2147488125" r:id="rId436"/>
    <p:sldLayoutId id="2147485391" r:id="rId437"/>
    <p:sldLayoutId id="2147485392" r:id="rId438"/>
    <p:sldLayoutId id="2147487384" r:id="rId439"/>
    <p:sldLayoutId id="2147485905" r:id="rId440"/>
    <p:sldLayoutId id="2147485906" r:id="rId441"/>
    <p:sldLayoutId id="2147485880" r:id="rId442"/>
    <p:sldLayoutId id="2147485393" r:id="rId443"/>
    <p:sldLayoutId id="2147485394" r:id="rId444"/>
    <p:sldLayoutId id="2147485395" r:id="rId445"/>
    <p:sldLayoutId id="2147486284" r:id="rId446"/>
    <p:sldLayoutId id="2147487385" r:id="rId447"/>
    <p:sldLayoutId id="2147487386" r:id="rId448"/>
    <p:sldLayoutId id="2147485396" r:id="rId449"/>
    <p:sldLayoutId id="2147483677" r:id="rId450"/>
    <p:sldLayoutId id="2147483678" r:id="rId451"/>
    <p:sldLayoutId id="2147483679" r:id="rId452"/>
    <p:sldLayoutId id="2147484608" r:id="rId453"/>
    <p:sldLayoutId id="2147485213" r:id="rId454"/>
    <p:sldLayoutId id="2147485214" r:id="rId455"/>
    <p:sldLayoutId id="2147485179" r:id="rId456"/>
    <p:sldLayoutId id="2147486360" r:id="rId457"/>
    <p:sldLayoutId id="2147485556" r:id="rId458"/>
    <p:sldLayoutId id="2147488118" r:id="rId459"/>
    <p:sldLayoutId id="2147486361" r:id="rId460"/>
    <p:sldLayoutId id="2147483814" r:id="rId461"/>
    <p:sldLayoutId id="2147488177" r:id="rId462"/>
    <p:sldLayoutId id="2147488178" r:id="rId463"/>
    <p:sldLayoutId id="2147488079" r:id="rId464"/>
    <p:sldLayoutId id="2147484386" r:id="rId465"/>
    <p:sldLayoutId id="2147484815" r:id="rId466"/>
    <p:sldLayoutId id="2147484816" r:id="rId467"/>
    <p:sldLayoutId id="2147484817" r:id="rId468"/>
    <p:sldLayoutId id="2147484330" r:id="rId469"/>
    <p:sldLayoutId id="2147484331" r:id="rId470"/>
    <p:sldLayoutId id="2147484332" r:id="rId471"/>
    <p:sldLayoutId id="2147484485" r:id="rId472"/>
    <p:sldLayoutId id="2147484486" r:id="rId473"/>
    <p:sldLayoutId id="2147484609" r:id="rId474"/>
    <p:sldLayoutId id="2147484297" r:id="rId475"/>
    <p:sldLayoutId id="2147484298" r:id="rId476"/>
    <p:sldLayoutId id="2147484260" r:id="rId477"/>
    <p:sldLayoutId id="2147488381" r:id="rId478"/>
    <p:sldLayoutId id="2147484299" r:id="rId479"/>
    <p:sldLayoutId id="2147484267" r:id="rId480"/>
    <p:sldLayoutId id="2147484300" r:id="rId481"/>
    <p:sldLayoutId id="2147484301" r:id="rId482"/>
    <p:sldLayoutId id="2147484302" r:id="rId483"/>
    <p:sldLayoutId id="2147484303" r:id="rId484"/>
    <p:sldLayoutId id="2147484304" r:id="rId485"/>
    <p:sldLayoutId id="2147484305" r:id="rId486"/>
    <p:sldLayoutId id="2147484306" r:id="rId487"/>
    <p:sldLayoutId id="2147488382" r:id="rId488"/>
    <p:sldLayoutId id="2147484307" r:id="rId489"/>
    <p:sldLayoutId id="2147484308" r:id="rId490"/>
    <p:sldLayoutId id="2147484309" r:id="rId491"/>
    <p:sldLayoutId id="2147484310" r:id="rId492"/>
    <p:sldLayoutId id="2147484311" r:id="rId493"/>
    <p:sldLayoutId id="2147484312" r:id="rId494"/>
    <p:sldLayoutId id="2147485468" r:id="rId495"/>
    <p:sldLayoutId id="2147485865" r:id="rId496"/>
    <p:sldLayoutId id="2147488109" r:id="rId497"/>
    <p:sldLayoutId id="2147485358" r:id="rId498"/>
    <p:sldLayoutId id="2147485868" r:id="rId499"/>
    <p:sldLayoutId id="2147485869" r:id="rId500"/>
    <p:sldLayoutId id="2147485870" r:id="rId501"/>
    <p:sldLayoutId id="2147485385" r:id="rId502"/>
    <p:sldLayoutId id="2147485871" r:id="rId503"/>
    <p:sldLayoutId id="2147485469" r:id="rId504"/>
    <p:sldLayoutId id="2147488119" r:id="rId505"/>
    <p:sldLayoutId id="2147488383" r:id="rId506"/>
    <p:sldLayoutId id="2147488384" r:id="rId507"/>
    <p:sldLayoutId id="2147483752" r:id="rId508"/>
    <p:sldLayoutId id="2147484373" r:id="rId509"/>
    <p:sldLayoutId id="2147484374" r:id="rId510"/>
    <p:sldLayoutId id="2147484375" r:id="rId511"/>
    <p:sldLayoutId id="2147483661" r:id="rId512"/>
    <p:sldLayoutId id="2147483662" r:id="rId513"/>
    <p:sldLayoutId id="2147483663" r:id="rId514"/>
    <p:sldLayoutId id="2147484372" r:id="rId515"/>
    <p:sldLayoutId id="2147484354" r:id="rId516"/>
    <p:sldLayoutId id="2147483665" r:id="rId517"/>
    <p:sldLayoutId id="2147483666" r:id="rId518"/>
    <p:sldLayoutId id="2147488396" r:id="rId519"/>
    <p:sldLayoutId id="2147488397" r:id="rId520"/>
    <p:sldLayoutId id="2147488398" r:id="rId521"/>
    <p:sldLayoutId id="2147488399" r:id="rId522"/>
    <p:sldLayoutId id="2147488385" r:id="rId523"/>
    <p:sldLayoutId id="2147487362" r:id="rId524"/>
    <p:sldLayoutId id="2147488150" r:id="rId525"/>
    <p:sldLayoutId id="2147488116" r:id="rId526"/>
    <p:sldLayoutId id="2147487359" r:id="rId527"/>
    <p:sldLayoutId id="2147488400" r:id="rId528"/>
    <p:sldLayoutId id="2147488168" r:id="rId529"/>
    <p:sldLayoutId id="2147488169" r:id="rId530"/>
    <p:sldLayoutId id="2147484376" r:id="rId531"/>
    <p:sldLayoutId id="2147483681" r:id="rId532"/>
    <p:sldLayoutId id="2147488170" r:id="rId533"/>
    <p:sldLayoutId id="2147488386" r:id="rId534"/>
    <p:sldLayoutId id="2147488172" r:id="rId535"/>
    <p:sldLayoutId id="2147484377" r:id="rId536"/>
    <p:sldLayoutId id="2147484378" r:id="rId537"/>
    <p:sldLayoutId id="2147484379" r:id="rId538"/>
    <p:sldLayoutId id="2147488173" r:id="rId539"/>
    <p:sldLayoutId id="2147488145" r:id="rId540"/>
    <p:sldLayoutId id="2147488146" r:id="rId541"/>
    <p:sldLayoutId id="2147486252" r:id="rId542"/>
    <p:sldLayoutId id="2147486253" r:id="rId543"/>
    <p:sldLayoutId id="2147486363" r:id="rId544"/>
    <p:sldLayoutId id="2147487006" r:id="rId545"/>
    <p:sldLayoutId id="2147486364" r:id="rId546"/>
    <p:sldLayoutId id="2147486365" r:id="rId547"/>
    <p:sldLayoutId id="2147487007" r:id="rId548"/>
    <p:sldLayoutId id="2147483940" r:id="rId549"/>
    <p:sldLayoutId id="2147486366" r:id="rId550"/>
    <p:sldLayoutId id="2147486367" r:id="rId551"/>
    <p:sldLayoutId id="2147486368" r:id="rId552"/>
    <p:sldLayoutId id="2147486369" r:id="rId553"/>
    <p:sldLayoutId id="2147483944" r:id="rId554"/>
    <p:sldLayoutId id="2147483945" r:id="rId555"/>
    <p:sldLayoutId id="2147483949" r:id="rId556"/>
    <p:sldLayoutId id="2147483953" r:id="rId557"/>
    <p:sldLayoutId id="2147483954" r:id="rId558"/>
    <p:sldLayoutId id="2147483955" r:id="rId559"/>
    <p:sldLayoutId id="2147483956" r:id="rId560"/>
    <p:sldLayoutId id="2147483957" r:id="rId561"/>
    <p:sldLayoutId id="2147483958" r:id="rId562"/>
    <p:sldLayoutId id="2147483959" r:id="rId563"/>
    <p:sldLayoutId id="2147483960" r:id="rId564"/>
    <p:sldLayoutId id="2147483961" r:id="rId565"/>
    <p:sldLayoutId id="2147483962" r:id="rId566"/>
    <p:sldLayoutId id="2147483963" r:id="rId567"/>
    <p:sldLayoutId id="2147483964" r:id="rId568"/>
    <p:sldLayoutId id="2147483965" r:id="rId569"/>
    <p:sldLayoutId id="2147483966" r:id="rId570"/>
    <p:sldLayoutId id="2147483967" r:id="rId571"/>
    <p:sldLayoutId id="2147483968" r:id="rId572"/>
    <p:sldLayoutId id="2147483969" r:id="rId573"/>
    <p:sldLayoutId id="2147483970" r:id="rId574"/>
    <p:sldLayoutId id="2147483971" r:id="rId575"/>
    <p:sldLayoutId id="2147483972" r:id="rId576"/>
    <p:sldLayoutId id="2147483973" r:id="rId577"/>
    <p:sldLayoutId id="2147483976" r:id="rId578"/>
    <p:sldLayoutId id="2147483977" r:id="rId579"/>
    <p:sldLayoutId id="2147488121" r:id="rId580"/>
    <p:sldLayoutId id="2147483979" r:id="rId581"/>
    <p:sldLayoutId id="2147483980" r:id="rId582"/>
    <p:sldLayoutId id="2147483981" r:id="rId583"/>
    <p:sldLayoutId id="2147483982" r:id="rId584"/>
    <p:sldLayoutId id="2147483978" r:id="rId585"/>
    <p:sldLayoutId id="2147483983" r:id="rId586"/>
    <p:sldLayoutId id="2147483984" r:id="rId587"/>
    <p:sldLayoutId id="2147483985" r:id="rId588"/>
    <p:sldLayoutId id="2147483986" r:id="rId589"/>
    <p:sldLayoutId id="2147483987" r:id="rId590"/>
    <p:sldLayoutId id="2147483988" r:id="rId591"/>
    <p:sldLayoutId id="2147483989" r:id="rId592"/>
    <p:sldLayoutId id="2147483990" r:id="rId593"/>
    <p:sldLayoutId id="2147483991" r:id="rId594"/>
    <p:sldLayoutId id="2147483992" r:id="rId595"/>
    <p:sldLayoutId id="2147483993" r:id="rId596"/>
    <p:sldLayoutId id="2147483994" r:id="rId597"/>
    <p:sldLayoutId id="2147483995" r:id="rId598"/>
    <p:sldLayoutId id="2147483996" r:id="rId599"/>
    <p:sldLayoutId id="2147483997" r:id="rId600"/>
    <p:sldLayoutId id="2147483998" r:id="rId601"/>
    <p:sldLayoutId id="2147483999" r:id="rId602"/>
    <p:sldLayoutId id="2147484000" r:id="rId603"/>
    <p:sldLayoutId id="2147484001" r:id="rId604"/>
    <p:sldLayoutId id="2147484652" r:id="rId605"/>
    <p:sldLayoutId id="2147484653" r:id="rId606"/>
    <p:sldLayoutId id="2147487008" r:id="rId607"/>
    <p:sldLayoutId id="2147487009" r:id="rId608"/>
    <p:sldLayoutId id="2147488122" r:id="rId609"/>
    <p:sldLayoutId id="2147487010" r:id="rId610"/>
    <p:sldLayoutId id="2147487011" r:id="rId611"/>
    <p:sldLayoutId id="2147487012" r:id="rId612"/>
    <p:sldLayoutId id="2147487013" r:id="rId613"/>
    <p:sldLayoutId id="2147488123" r:id="rId614"/>
    <p:sldLayoutId id="2147485000" r:id="rId615"/>
    <p:sldLayoutId id="2147485001" r:id="rId616"/>
    <p:sldLayoutId id="2147485002" r:id="rId617"/>
    <p:sldLayoutId id="2147485006" r:id="rId618"/>
    <p:sldLayoutId id="2147485007" r:id="rId619"/>
    <p:sldLayoutId id="2147485008" r:id="rId620"/>
    <p:sldLayoutId id="2147484999" r:id="rId621"/>
    <p:sldLayoutId id="2147488174" r:id="rId622"/>
    <p:sldLayoutId id="2147488369" r:id="rId623"/>
    <p:sldLayoutId id="2147484566" r:id="rId624"/>
    <p:sldLayoutId id="2147488155" r:id="rId625"/>
    <p:sldLayoutId id="2147485444" r:id="rId626"/>
    <p:sldLayoutId id="2147488156" r:id="rId627"/>
    <p:sldLayoutId id="2147488120" r:id="rId628"/>
    <p:sldLayoutId id="2147488181" r:id="rId629"/>
    <p:sldLayoutId id="2147488157" r:id="rId630"/>
    <p:sldLayoutId id="2147488158" r:id="rId631"/>
    <p:sldLayoutId id="2147488159" r:id="rId632"/>
    <p:sldLayoutId id="2147488160" r:id="rId633"/>
    <p:sldLayoutId id="2147488161" r:id="rId634"/>
    <p:sldLayoutId id="2147488162" r:id="rId635"/>
    <p:sldLayoutId id="2147487378" r:id="rId636"/>
    <p:sldLayoutId id="2147484845" r:id="rId637"/>
    <p:sldLayoutId id="2147484846" r:id="rId638"/>
    <p:sldLayoutId id="2147487379" r:id="rId639"/>
    <p:sldLayoutId id="2147485470" r:id="rId640"/>
    <p:sldLayoutId id="2147483713" r:id="rId641"/>
    <p:sldLayoutId id="2147485072" r:id="rId642"/>
    <p:sldLayoutId id="2147484231" r:id="rId643"/>
    <p:sldLayoutId id="2147484268" r:id="rId644"/>
    <p:sldLayoutId id="2147484235" r:id="rId645"/>
    <p:sldLayoutId id="2147488372" r:id="rId646"/>
    <p:sldLayoutId id="2147484245" r:id="rId647"/>
    <p:sldLayoutId id="2147484262" r:id="rId648"/>
    <p:sldLayoutId id="2147484285" r:id="rId649"/>
    <p:sldLayoutId id="2147484286" r:id="rId650"/>
    <p:sldLayoutId id="2147484287" r:id="rId651"/>
    <p:sldLayoutId id="2147484233" r:id="rId652"/>
    <p:sldLayoutId id="2147484821" r:id="rId653"/>
    <p:sldLayoutId id="2147486952" r:id="rId654"/>
    <p:sldLayoutId id="2147485239" r:id="rId655"/>
    <p:sldLayoutId id="2147484848" r:id="rId656"/>
    <p:sldLayoutId id="2147486048" r:id="rId657"/>
    <p:sldLayoutId id="2147486954" r:id="rId658"/>
    <p:sldLayoutId id="2147484400" r:id="rId659"/>
    <p:sldLayoutId id="2147484401" r:id="rId660"/>
    <p:sldLayoutId id="2147484402" r:id="rId661"/>
    <p:sldLayoutId id="2147484822" r:id="rId662"/>
    <p:sldLayoutId id="2147486251" r:id="rId663"/>
    <p:sldLayoutId id="2147484849" r:id="rId664"/>
    <p:sldLayoutId id="2147484850" r:id="rId665"/>
    <p:sldLayoutId id="2147483710" r:id="rId666"/>
    <p:sldLayoutId id="2147483716" r:id="rId667"/>
    <p:sldLayoutId id="2147484364" r:id="rId668"/>
    <p:sldLayoutId id="2147483664" r:id="rId669"/>
    <p:sldLayoutId id="2147488373" r:id="rId670"/>
    <p:sldLayoutId id="2147483718" r:id="rId671"/>
    <p:sldLayoutId id="2147483719" r:id="rId672"/>
    <p:sldLayoutId id="2147488143" r:id="rId673"/>
    <p:sldLayoutId id="2147483721" r:id="rId674"/>
    <p:sldLayoutId id="2147483712" r:id="rId675"/>
    <p:sldLayoutId id="2147484570" r:id="rId676"/>
    <p:sldLayoutId id="2147484572" r:id="rId677"/>
    <p:sldLayoutId id="2147486926" r:id="rId678"/>
    <p:sldLayoutId id="2147484573" r:id="rId679"/>
    <p:sldLayoutId id="2147484222" r:id="rId680"/>
    <p:sldLayoutId id="2147488387" r:id="rId681"/>
    <p:sldLayoutId id="2147485079" r:id="rId682"/>
    <p:sldLayoutId id="2147485080" r:id="rId683"/>
    <p:sldLayoutId id="2147485081" r:id="rId684"/>
    <p:sldLayoutId id="2147485082" r:id="rId685"/>
    <p:sldLayoutId id="2147485083" r:id="rId686"/>
    <p:sldLayoutId id="2147484596" r:id="rId687"/>
    <p:sldLayoutId id="2147484835" r:id="rId68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2210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4333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4334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21776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5" r:id="rId2"/>
    <p:sldLayoutId id="2147483784" r:id="rId3"/>
    <p:sldLayoutId id="2147483783" r:id="rId4"/>
    <p:sldLayoutId id="2147483782" r:id="rId5"/>
    <p:sldLayoutId id="2147483781" r:id="rId6"/>
    <p:sldLayoutId id="2147483780" r:id="rId7"/>
    <p:sldLayoutId id="2147488367" r:id="rId8"/>
    <p:sldLayoutId id="2147488366" r:id="rId9"/>
    <p:sldLayoutId id="2147488368" r:id="rId10"/>
    <p:sldLayoutId id="2147483776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9083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5" r:id="rId1"/>
    <p:sldLayoutId id="2147484576" r:id="rId2"/>
    <p:sldLayoutId id="2147484577" r:id="rId3"/>
    <p:sldLayoutId id="2147484578" r:id="rId4"/>
    <p:sldLayoutId id="2147484579" r:id="rId5"/>
    <p:sldLayoutId id="2147484580" r:id="rId6"/>
    <p:sldLayoutId id="2147484581" r:id="rId7"/>
    <p:sldLayoutId id="2147484582" r:id="rId8"/>
    <p:sldLayoutId id="2147484583" r:id="rId9"/>
    <p:sldLayoutId id="2147484584" r:id="rId10"/>
    <p:sldLayoutId id="2147484585" r:id="rId11"/>
    <p:sldLayoutId id="2147484586" r:id="rId12"/>
    <p:sldLayoutId id="2147484587" r:id="rId13"/>
    <p:sldLayoutId id="2147484588" r:id="rId14"/>
    <p:sldLayoutId id="2147484589" r:id="rId15"/>
    <p:sldLayoutId id="2147484590" r:id="rId16"/>
    <p:sldLayoutId id="2147484591" r:id="rId17"/>
    <p:sldLayoutId id="2147484592" r:id="rId18"/>
    <p:sldLayoutId id="2147484593" r:id="rId19"/>
    <p:sldLayoutId id="2147484594" r:id="rId20"/>
    <p:sldLayoutId id="2147484595" r:id="rId21"/>
    <p:sldLayoutId id="2147488111" r:id="rId22"/>
    <p:sldLayoutId id="2147484597" r:id="rId23"/>
    <p:sldLayoutId id="2147484598" r:id="rId24"/>
    <p:sldLayoutId id="2147488227" r:id="rId25"/>
    <p:sldLayoutId id="2147488228" r:id="rId26"/>
    <p:sldLayoutId id="2147484601" r:id="rId27"/>
    <p:sldLayoutId id="2147488113" r:id="rId28"/>
    <p:sldLayoutId id="2147488117" r:id="rId29"/>
    <p:sldLayoutId id="2147488115" r:id="rId30"/>
    <p:sldLayoutId id="2147484605" r:id="rId31"/>
    <p:sldLayoutId id="2147488229" r:id="rId32"/>
    <p:sldLayoutId id="2147484607" r:id="rId33"/>
    <p:sldLayoutId id="2147488148" r:id="rId34"/>
    <p:sldLayoutId id="2147488163" r:id="rId35"/>
    <p:sldLayoutId id="2147488230" r:id="rId36"/>
    <p:sldLayoutId id="2147484611" r:id="rId37"/>
    <p:sldLayoutId id="2147488231" r:id="rId38"/>
    <p:sldLayoutId id="2147488232" r:id="rId39"/>
    <p:sldLayoutId id="2147488233" r:id="rId40"/>
    <p:sldLayoutId id="2147488234" r:id="rId41"/>
    <p:sldLayoutId id="2147488235" r:id="rId42"/>
    <p:sldLayoutId id="2147488236" r:id="rId43"/>
    <p:sldLayoutId id="2147488237" r:id="rId44"/>
    <p:sldLayoutId id="2147488238" r:id="rId45"/>
    <p:sldLayoutId id="2147488239" r:id="rId46"/>
    <p:sldLayoutId id="2147488240" r:id="rId47"/>
    <p:sldLayoutId id="2147488241" r:id="rId48"/>
    <p:sldLayoutId id="2147488401" r:id="rId49"/>
    <p:sldLayoutId id="2147488402" r:id="rId50"/>
    <p:sldLayoutId id="2147488112" r:id="rId51"/>
    <p:sldLayoutId id="2147484627" r:id="rId52"/>
    <p:sldLayoutId id="2147488403" r:id="rId53"/>
    <p:sldLayoutId id="2147488404" r:id="rId54"/>
    <p:sldLayoutId id="2147488389" r:id="rId55"/>
    <p:sldLayoutId id="2147488390" r:id="rId56"/>
    <p:sldLayoutId id="2147488391" r:id="rId57"/>
    <p:sldLayoutId id="2147488392" r:id="rId58"/>
    <p:sldLayoutId id="2147484634" r:id="rId59"/>
    <p:sldLayoutId id="2147488393" r:id="rId60"/>
    <p:sldLayoutId id="2147488394" r:id="rId61"/>
    <p:sldLayoutId id="2147488395" r:id="rId62"/>
    <p:sldLayoutId id="2147488253" r:id="rId63"/>
    <p:sldLayoutId id="2147488254" r:id="rId64"/>
    <p:sldLayoutId id="2147488255" r:id="rId65"/>
    <p:sldLayoutId id="2147488256" r:id="rId66"/>
    <p:sldLayoutId id="2147488257" r:id="rId67"/>
    <p:sldLayoutId id="2147488258" r:id="rId68"/>
    <p:sldLayoutId id="2147488259" r:id="rId69"/>
    <p:sldLayoutId id="2147488260" r:id="rId70"/>
    <p:sldLayoutId id="2147488261" r:id="rId71"/>
    <p:sldLayoutId id="2147488262" r:id="rId72"/>
    <p:sldLayoutId id="2147488263" r:id="rId73"/>
    <p:sldLayoutId id="2147488264" r:id="rId74"/>
    <p:sldLayoutId id="2147488265" r:id="rId75"/>
    <p:sldLayoutId id="2147488266" r:id="rId76"/>
    <p:sldLayoutId id="2147488164" r:id="rId77"/>
    <p:sldLayoutId id="2147488165" r:id="rId78"/>
    <p:sldLayoutId id="2147484654" r:id="rId79"/>
    <p:sldLayoutId id="2147484655" r:id="rId80"/>
    <p:sldLayoutId id="2147488267" r:id="rId81"/>
    <p:sldLayoutId id="2147488268" r:id="rId82"/>
    <p:sldLayoutId id="2147488269" r:id="rId83"/>
    <p:sldLayoutId id="2147488270" r:id="rId84"/>
    <p:sldLayoutId id="2147488271" r:id="rId85"/>
    <p:sldLayoutId id="2147488272" r:id="rId86"/>
    <p:sldLayoutId id="2147488273" r:id="rId87"/>
    <p:sldLayoutId id="2147488274" r:id="rId88"/>
    <p:sldLayoutId id="2147488275" r:id="rId89"/>
    <p:sldLayoutId id="2147488276" r:id="rId90"/>
    <p:sldLayoutId id="2147488277" r:id="rId91"/>
    <p:sldLayoutId id="2147488278" r:id="rId92"/>
    <p:sldLayoutId id="2147488279" r:id="rId93"/>
    <p:sldLayoutId id="2147488280" r:id="rId94"/>
    <p:sldLayoutId id="2147488281" r:id="rId95"/>
    <p:sldLayoutId id="2147488282" r:id="rId96"/>
    <p:sldLayoutId id="2147488283" r:id="rId97"/>
    <p:sldLayoutId id="2147488284" r:id="rId98"/>
    <p:sldLayoutId id="2147488285" r:id="rId99"/>
    <p:sldLayoutId id="2147488286" r:id="rId100"/>
    <p:sldLayoutId id="2147488287" r:id="rId101"/>
    <p:sldLayoutId id="2147488288" r:id="rId102"/>
    <p:sldLayoutId id="2147488289" r:id="rId103"/>
    <p:sldLayoutId id="2147488290" r:id="rId104"/>
    <p:sldLayoutId id="2147488291" r:id="rId105"/>
    <p:sldLayoutId id="2147488292" r:id="rId106"/>
    <p:sldLayoutId id="2147488293" r:id="rId107"/>
    <p:sldLayoutId id="2147488294" r:id="rId108"/>
    <p:sldLayoutId id="2147488295" r:id="rId109"/>
    <p:sldLayoutId id="2147488296" r:id="rId110"/>
    <p:sldLayoutId id="2147488297" r:id="rId111"/>
    <p:sldLayoutId id="2147488298" r:id="rId112"/>
    <p:sldLayoutId id="2147488299" r:id="rId113"/>
    <p:sldLayoutId id="2147488300" r:id="rId114"/>
    <p:sldLayoutId id="2147488301" r:id="rId115"/>
    <p:sldLayoutId id="2147488302" r:id="rId116"/>
    <p:sldLayoutId id="2147488303" r:id="rId117"/>
    <p:sldLayoutId id="2147488304" r:id="rId118"/>
    <p:sldLayoutId id="2147488305" r:id="rId119"/>
    <p:sldLayoutId id="2147488306" r:id="rId120"/>
    <p:sldLayoutId id="2147488307" r:id="rId121"/>
    <p:sldLayoutId id="2147488308" r:id="rId122"/>
    <p:sldLayoutId id="2147488309" r:id="rId123"/>
    <p:sldLayoutId id="2147488310" r:id="rId124"/>
    <p:sldLayoutId id="2147488311" r:id="rId125"/>
    <p:sldLayoutId id="2147488312" r:id="rId126"/>
    <p:sldLayoutId id="2147488313" r:id="rId127"/>
    <p:sldLayoutId id="2147488314" r:id="rId128"/>
    <p:sldLayoutId id="2147488315" r:id="rId129"/>
    <p:sldLayoutId id="2147488316" r:id="rId130"/>
    <p:sldLayoutId id="2147488317" r:id="rId131"/>
    <p:sldLayoutId id="2147488318" r:id="rId132"/>
    <p:sldLayoutId id="2147488319" r:id="rId133"/>
    <p:sldLayoutId id="2147488320" r:id="rId134"/>
    <p:sldLayoutId id="2147488321" r:id="rId135"/>
    <p:sldLayoutId id="2147488322" r:id="rId136"/>
    <p:sldLayoutId id="2147488323" r:id="rId137"/>
    <p:sldLayoutId id="2147488324" r:id="rId138"/>
    <p:sldLayoutId id="2147488325" r:id="rId139"/>
    <p:sldLayoutId id="2147488326" r:id="rId140"/>
    <p:sldLayoutId id="2147488327" r:id="rId141"/>
    <p:sldLayoutId id="2147488328" r:id="rId142"/>
    <p:sldLayoutId id="2147488329" r:id="rId143"/>
    <p:sldLayoutId id="2147488330" r:id="rId144"/>
    <p:sldLayoutId id="2147488331" r:id="rId145"/>
    <p:sldLayoutId id="2147488332" r:id="rId146"/>
    <p:sldLayoutId id="2147488333" r:id="rId147"/>
    <p:sldLayoutId id="2147488334" r:id="rId148"/>
    <p:sldLayoutId id="2147488335" r:id="rId149"/>
    <p:sldLayoutId id="2147488336" r:id="rId150"/>
    <p:sldLayoutId id="2147488337" r:id="rId151"/>
    <p:sldLayoutId id="2147488338" r:id="rId152"/>
    <p:sldLayoutId id="2147488339" r:id="rId153"/>
    <p:sldLayoutId id="2147488340" r:id="rId154"/>
    <p:sldLayoutId id="2147488341" r:id="rId155"/>
    <p:sldLayoutId id="2147488342" r:id="rId156"/>
    <p:sldLayoutId id="2147488343" r:id="rId157"/>
    <p:sldLayoutId id="2147488344" r:id="rId158"/>
    <p:sldLayoutId id="2147488345" r:id="rId159"/>
    <p:sldLayoutId id="2147488346" r:id="rId160"/>
    <p:sldLayoutId id="2147488347" r:id="rId161"/>
    <p:sldLayoutId id="2147488348" r:id="rId16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5126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50" r:id="rId1"/>
    <p:sldLayoutId id="2147488351" r:id="rId2"/>
    <p:sldLayoutId id="2147488352" r:id="rId3"/>
    <p:sldLayoutId id="2147488353" r:id="rId4"/>
    <p:sldLayoutId id="2147488354" r:id="rId5"/>
    <p:sldLayoutId id="2147488355" r:id="rId6"/>
    <p:sldLayoutId id="2147488356" r:id="rId7"/>
    <p:sldLayoutId id="2147488357" r:id="rId8"/>
    <p:sldLayoutId id="2147488358" r:id="rId9"/>
    <p:sldLayoutId id="2147488359" r:id="rId10"/>
    <p:sldLayoutId id="2147488360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7276" r:id="rId1"/>
    <p:sldLayoutId id="2147487277" r:id="rId2"/>
    <p:sldLayoutId id="2147487278" r:id="rId3"/>
    <p:sldLayoutId id="2147487279" r:id="rId4"/>
    <p:sldLayoutId id="2147487280" r:id="rId5"/>
    <p:sldLayoutId id="2147487281" r:id="rId6"/>
    <p:sldLayoutId id="2147487282" r:id="rId7"/>
    <p:sldLayoutId id="2147487283" r:id="rId8"/>
    <p:sldLayoutId id="2147487284" r:id="rId9"/>
    <p:sldLayoutId id="2147487285" r:id="rId10"/>
    <p:sldLayoutId id="2147487286" r:id="rId11"/>
    <p:sldLayoutId id="2147487521" r:id="rId12"/>
    <p:sldLayoutId id="2147487288" r:id="rId13"/>
    <p:sldLayoutId id="2147487289" r:id="rId14"/>
    <p:sldLayoutId id="2147487290" r:id="rId15"/>
    <p:sldLayoutId id="2147487291" r:id="rId16"/>
    <p:sldLayoutId id="2147487292" r:id="rId17"/>
    <p:sldLayoutId id="2147487293" r:id="rId18"/>
    <p:sldLayoutId id="2147487294" r:id="rId19"/>
    <p:sldLayoutId id="2147487295" r:id="rId20"/>
    <p:sldLayoutId id="2147487296" r:id="rId21"/>
    <p:sldLayoutId id="2147487297" r:id="rId22"/>
    <p:sldLayoutId id="2147487298" r:id="rId23"/>
    <p:sldLayoutId id="2147487299" r:id="rId24"/>
    <p:sldLayoutId id="2147487300" r:id="rId25"/>
    <p:sldLayoutId id="2147483674" r:id="rId26"/>
    <p:sldLayoutId id="2147483675" r:id="rId27"/>
    <p:sldLayoutId id="2147486118" r:id="rId28"/>
    <p:sldLayoutId id="2147487303" r:id="rId29"/>
    <p:sldLayoutId id="2147487533" r:id="rId30"/>
    <p:sldLayoutId id="2147487534" r:id="rId31"/>
    <p:sldLayoutId id="2147487535" r:id="rId32"/>
    <p:sldLayoutId id="2147486079" r:id="rId33"/>
    <p:sldLayoutId id="2147487308" r:id="rId34"/>
    <p:sldLayoutId id="2147487309" r:id="rId35"/>
    <p:sldLayoutId id="2147487539" r:id="rId36"/>
    <p:sldLayoutId id="2147487540" r:id="rId37"/>
    <p:sldLayoutId id="2147487541" r:id="rId38"/>
    <p:sldLayoutId id="2147487313" r:id="rId39"/>
    <p:sldLayoutId id="2147487543" r:id="rId40"/>
    <p:sldLayoutId id="2147487544" r:id="rId41"/>
    <p:sldLayoutId id="2147487316" r:id="rId42"/>
    <p:sldLayoutId id="2147487317" r:id="rId43"/>
    <p:sldLayoutId id="2147487318" r:id="rId44"/>
    <p:sldLayoutId id="2147487319" r:id="rId45"/>
    <p:sldLayoutId id="2147487320" r:id="rId46"/>
    <p:sldLayoutId id="2147487321" r:id="rId47"/>
    <p:sldLayoutId id="2147487322" r:id="rId48"/>
    <p:sldLayoutId id="2147487323" r:id="rId49"/>
    <p:sldLayoutId id="2147487324" r:id="rId50"/>
    <p:sldLayoutId id="2147487325" r:id="rId51"/>
    <p:sldLayoutId id="2147487326" r:id="rId52"/>
    <p:sldLayoutId id="2147487556" r:id="rId53"/>
    <p:sldLayoutId id="2147483702" r:id="rId54"/>
    <p:sldLayoutId id="2147483703" r:id="rId55"/>
    <p:sldLayoutId id="2147483704" r:id="rId56"/>
    <p:sldLayoutId id="2147483705" r:id="rId57"/>
    <p:sldLayoutId id="2147486347" r:id="rId58"/>
    <p:sldLayoutId id="2147486348" r:id="rId59"/>
    <p:sldLayoutId id="2147486349" r:id="rId60"/>
    <p:sldLayoutId id="2147486350" r:id="rId61"/>
    <p:sldLayoutId id="2147486351" r:id="rId62"/>
    <p:sldLayoutId id="2147486352" r:id="rId63"/>
    <p:sldLayoutId id="2147486353" r:id="rId64"/>
    <p:sldLayoutId id="2147486354" r:id="rId65"/>
    <p:sldLayoutId id="2147483714" r:id="rId66"/>
    <p:sldLayoutId id="2147483715" r:id="rId67"/>
    <p:sldLayoutId id="2147486090" r:id="rId68"/>
    <p:sldLayoutId id="2147486091" r:id="rId69"/>
    <p:sldLayoutId id="2147486092" r:id="rId70"/>
    <p:sldLayoutId id="2147486087" r:id="rId71"/>
    <p:sldLayoutId id="2147483720" r:id="rId72"/>
    <p:sldLayoutId id="2147486088" r:id="rId73"/>
    <p:sldLayoutId id="2147483722" r:id="rId74"/>
    <p:sldLayoutId id="2147483723" r:id="rId75"/>
    <p:sldLayoutId id="2147483724" r:id="rId76"/>
    <p:sldLayoutId id="2147483725" r:id="rId77"/>
    <p:sldLayoutId id="2147487344" r:id="rId78"/>
    <p:sldLayoutId id="2147486355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7351" r:id="rId86"/>
    <p:sldLayoutId id="2147487352" r:id="rId87"/>
    <p:sldLayoutId id="2147487353" r:id="rId88"/>
    <p:sldLayoutId id="2147487354" r:id="rId89"/>
    <p:sldLayoutId id="2147483738" r:id="rId90"/>
    <p:sldLayoutId id="2147487356" r:id="rId91"/>
    <p:sldLayoutId id="2147483740" r:id="rId92"/>
    <p:sldLayoutId id="2147486060" r:id="rId93"/>
    <p:sldLayoutId id="2147483742" r:id="rId94"/>
    <p:sldLayoutId id="2147487360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7367" r:id="rId102"/>
    <p:sldLayoutId id="2147487368" r:id="rId103"/>
    <p:sldLayoutId id="2147487369" r:id="rId104"/>
    <p:sldLayoutId id="2147487370" r:id="rId105"/>
    <p:sldLayoutId id="2147487371" r:id="rId106"/>
    <p:sldLayoutId id="2147487372" r:id="rId107"/>
    <p:sldLayoutId id="2147487373" r:id="rId108"/>
    <p:sldLayoutId id="2147487374" r:id="rId109"/>
    <p:sldLayoutId id="2147487375" r:id="rId110"/>
    <p:sldLayoutId id="2147487376" r:id="rId111"/>
    <p:sldLayoutId id="2147487377" r:id="rId112"/>
    <p:sldLayoutId id="2147483761" r:id="rId113"/>
    <p:sldLayoutId id="2147483762" r:id="rId114"/>
    <p:sldLayoutId id="2147483763" r:id="rId115"/>
    <p:sldLayoutId id="2147487381" r:id="rId116"/>
    <p:sldLayoutId id="2147487382" r:id="rId117"/>
    <p:sldLayoutId id="2147487383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7392" r:id="rId127"/>
    <p:sldLayoutId id="2147487393" r:id="rId128"/>
    <p:sldLayoutId id="2147487394" r:id="rId129"/>
    <p:sldLayoutId id="2147487395" r:id="rId130"/>
    <p:sldLayoutId id="2147487396" r:id="rId131"/>
    <p:sldLayoutId id="2147487397" r:id="rId132"/>
    <p:sldLayoutId id="2147487398" r:id="rId133"/>
    <p:sldLayoutId id="2147487399" r:id="rId134"/>
    <p:sldLayoutId id="2147487400" r:id="rId135"/>
    <p:sldLayoutId id="2147487401" r:id="rId136"/>
    <p:sldLayoutId id="2147487402" r:id="rId137"/>
    <p:sldLayoutId id="2147487403" r:id="rId138"/>
    <p:sldLayoutId id="2147483787" r:id="rId139"/>
    <p:sldLayoutId id="2147483788" r:id="rId140"/>
    <p:sldLayoutId id="2147483789" r:id="rId141"/>
    <p:sldLayoutId id="2147487407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7416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7423" r:id="rId158"/>
    <p:sldLayoutId id="2147483807" r:id="rId159"/>
    <p:sldLayoutId id="2147483808" r:id="rId160"/>
    <p:sldLayoutId id="2147487426" r:id="rId161"/>
    <p:sldLayoutId id="2147487427" r:id="rId162"/>
    <p:sldLayoutId id="2147487428" r:id="rId163"/>
    <p:sldLayoutId id="2147487429" r:id="rId164"/>
    <p:sldLayoutId id="2147487430" r:id="rId165"/>
    <p:sldLayoutId id="2147487431" r:id="rId166"/>
    <p:sldLayoutId id="2147483815" r:id="rId167"/>
    <p:sldLayoutId id="2147483816" r:id="rId168"/>
    <p:sldLayoutId id="2147483817" r:id="rId169"/>
    <p:sldLayoutId id="2147487435" r:id="rId170"/>
    <p:sldLayoutId id="2147487436" r:id="rId171"/>
    <p:sldLayoutId id="2147487437" r:id="rId172"/>
    <p:sldLayoutId id="2147487438" r:id="rId173"/>
    <p:sldLayoutId id="2147487439" r:id="rId174"/>
    <p:sldLayoutId id="2147483823" r:id="rId175"/>
    <p:sldLayoutId id="2147487441" r:id="rId176"/>
    <p:sldLayoutId id="2147487442" r:id="rId177"/>
    <p:sldLayoutId id="2147487443" r:id="rId178"/>
    <p:sldLayoutId id="2147487444" r:id="rId179"/>
    <p:sldLayoutId id="2147487445" r:id="rId180"/>
    <p:sldLayoutId id="2147487446" r:id="rId181"/>
    <p:sldLayoutId id="2147487447" r:id="rId182"/>
    <p:sldLayoutId id="2147487448" r:id="rId183"/>
    <p:sldLayoutId id="2147487449" r:id="rId184"/>
    <p:sldLayoutId id="2147487450" r:id="rId185"/>
    <p:sldLayoutId id="2147487451" r:id="rId186"/>
    <p:sldLayoutId id="2147487452" r:id="rId187"/>
    <p:sldLayoutId id="2147487453" r:id="rId188"/>
    <p:sldLayoutId id="2147487454" r:id="rId189"/>
    <p:sldLayoutId id="2147487455" r:id="rId190"/>
    <p:sldLayoutId id="2147487456" r:id="rId191"/>
    <p:sldLayoutId id="2147487457" r:id="rId192"/>
    <p:sldLayoutId id="2147487458" r:id="rId193"/>
    <p:sldLayoutId id="2147487459" r:id="rId194"/>
    <p:sldLayoutId id="2147483843" r:id="rId195"/>
    <p:sldLayoutId id="2147487461" r:id="rId196"/>
    <p:sldLayoutId id="2147483845" r:id="rId197"/>
    <p:sldLayoutId id="2147483846" r:id="rId198"/>
    <p:sldLayoutId id="2147483847" r:id="rId199"/>
    <p:sldLayoutId id="2147487581" r:id="rId200"/>
    <p:sldLayoutId id="2147487582" r:id="rId201"/>
    <p:sldLayoutId id="2147487583" r:id="rId202"/>
    <p:sldLayoutId id="2147487584" r:id="rId203"/>
    <p:sldLayoutId id="2147487585" r:id="rId204"/>
    <p:sldLayoutId id="2147487586" r:id="rId205"/>
    <p:sldLayoutId id="2147487587" r:id="rId206"/>
    <p:sldLayoutId id="2147487588" r:id="rId207"/>
    <p:sldLayoutId id="2147487589" r:id="rId208"/>
    <p:sldLayoutId id="2147487590" r:id="rId209"/>
    <p:sldLayoutId id="2147487591" r:id="rId210"/>
    <p:sldLayoutId id="2147487592" r:id="rId211"/>
    <p:sldLayoutId id="2147483860" r:id="rId212"/>
    <p:sldLayoutId id="2147483861" r:id="rId213"/>
    <p:sldLayoutId id="2147483862" r:id="rId214"/>
    <p:sldLayoutId id="2147483863" r:id="rId215"/>
    <p:sldLayoutId id="2147483864" r:id="rId216"/>
    <p:sldLayoutId id="2147483865" r:id="rId217"/>
    <p:sldLayoutId id="2147483866" r:id="rId218"/>
    <p:sldLayoutId id="2147483867" r:id="rId219"/>
    <p:sldLayoutId id="2147486109" r:id="rId220"/>
    <p:sldLayoutId id="2147483869" r:id="rId221"/>
    <p:sldLayoutId id="2147483870" r:id="rId222"/>
    <p:sldLayoutId id="2147483871" r:id="rId223"/>
    <p:sldLayoutId id="2147483872" r:id="rId224"/>
    <p:sldLayoutId id="2147483873" r:id="rId225"/>
    <p:sldLayoutId id="2147483874" r:id="rId226"/>
    <p:sldLayoutId id="2147483875" r:id="rId227"/>
    <p:sldLayoutId id="2147483876" r:id="rId228"/>
    <p:sldLayoutId id="2147486136" r:id="rId229"/>
    <p:sldLayoutId id="2147486137" r:id="rId230"/>
    <p:sldLayoutId id="2147483879" r:id="rId231"/>
    <p:sldLayoutId id="2147483880" r:id="rId232"/>
    <p:sldLayoutId id="2147483881" r:id="rId233"/>
    <p:sldLayoutId id="2147483882" r:id="rId234"/>
    <p:sldLayoutId id="2147483883" r:id="rId235"/>
    <p:sldLayoutId id="2147483884" r:id="rId236"/>
    <p:sldLayoutId id="2147486071" r:id="rId237"/>
    <p:sldLayoutId id="2147483886" r:id="rId238"/>
    <p:sldLayoutId id="2147483887" r:id="rId239"/>
    <p:sldLayoutId id="2147483888" r:id="rId240"/>
    <p:sldLayoutId id="2147483889" r:id="rId241"/>
    <p:sldLayoutId id="2147483890" r:id="rId242"/>
    <p:sldLayoutId id="2147483891" r:id="rId243"/>
    <p:sldLayoutId id="2147483892" r:id="rId244"/>
    <p:sldLayoutId id="2147483893" r:id="rId245"/>
    <p:sldLayoutId id="2147483894" r:id="rId246"/>
    <p:sldLayoutId id="2147483895" r:id="rId247"/>
    <p:sldLayoutId id="2147483896" r:id="rId248"/>
    <p:sldLayoutId id="2147483897" r:id="rId249"/>
    <p:sldLayoutId id="2147483898" r:id="rId250"/>
    <p:sldLayoutId id="2147483899" r:id="rId251"/>
    <p:sldLayoutId id="2147483900" r:id="rId252"/>
    <p:sldLayoutId id="2147483901" r:id="rId253"/>
    <p:sldLayoutId id="2147483902" r:id="rId254"/>
    <p:sldLayoutId id="2147483903" r:id="rId255"/>
    <p:sldLayoutId id="2147483904" r:id="rId256"/>
    <p:sldLayoutId id="2147483905" r:id="rId257"/>
    <p:sldLayoutId id="2147483906" r:id="rId258"/>
    <p:sldLayoutId id="2147483907" r:id="rId259"/>
    <p:sldLayoutId id="2147483908" r:id="rId260"/>
    <p:sldLayoutId id="2147483909" r:id="rId261"/>
    <p:sldLayoutId id="2147483910" r:id="rId262"/>
    <p:sldLayoutId id="2147483911" r:id="rId263"/>
    <p:sldLayoutId id="2147483912" r:id="rId264"/>
    <p:sldLayoutId id="2147483913" r:id="rId265"/>
    <p:sldLayoutId id="2147483914" r:id="rId266"/>
    <p:sldLayoutId id="2147483915" r:id="rId267"/>
    <p:sldLayoutId id="2147483916" r:id="rId268"/>
    <p:sldLayoutId id="2147483917" r:id="rId269"/>
    <p:sldLayoutId id="2147483918" r:id="rId270"/>
    <p:sldLayoutId id="2147483919" r:id="rId271"/>
    <p:sldLayoutId id="2147483920" r:id="rId27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7" name="Google Shape;9547;p1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548" name="Google Shape;9548;p1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49" name="Google Shape;9549;p1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50" name="Google Shape;9550;p1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591" r:id="rId1"/>
    <p:sldLayoutId id="2147484599" r:id="rId2"/>
    <p:sldLayoutId id="2147484600" r:id="rId3"/>
    <p:sldLayoutId id="2147485596" r:id="rId4"/>
    <p:sldLayoutId id="2147485597" r:id="rId5"/>
    <p:sldLayoutId id="2147485598" r:id="rId6"/>
    <p:sldLayoutId id="2147485599" r:id="rId7"/>
    <p:sldLayoutId id="2147485704" r:id="rId8"/>
    <p:sldLayoutId id="2147484606" r:id="rId9"/>
    <p:sldLayoutId id="2147485702" r:id="rId10"/>
    <p:sldLayoutId id="2147485703" r:id="rId11"/>
    <p:sldLayoutId id="2147485691" r:id="rId12"/>
    <p:sldLayoutId id="2147484610" r:id="rId13"/>
    <p:sldLayoutId id="2147484612" r:id="rId14"/>
    <p:sldLayoutId id="2147484613" r:id="rId15"/>
    <p:sldLayoutId id="2147484614" r:id="rId16"/>
    <p:sldLayoutId id="2147484615" r:id="rId17"/>
    <p:sldLayoutId id="2147484616" r:id="rId18"/>
    <p:sldLayoutId id="2147484617" r:id="rId19"/>
    <p:sldLayoutId id="2147484618" r:id="rId20"/>
    <p:sldLayoutId id="2147484619" r:id="rId21"/>
    <p:sldLayoutId id="2147484620" r:id="rId22"/>
    <p:sldLayoutId id="2147484621" r:id="rId23"/>
    <p:sldLayoutId id="2147484622" r:id="rId24"/>
    <p:sldLayoutId id="2147484623" r:id="rId25"/>
    <p:sldLayoutId id="2147484624" r:id="rId26"/>
    <p:sldLayoutId id="2147484625" r:id="rId27"/>
    <p:sldLayoutId id="2147485593" r:id="rId28"/>
    <p:sldLayoutId id="2147485605" r:id="rId29"/>
    <p:sldLayoutId id="2147484628" r:id="rId30"/>
    <p:sldLayoutId id="2147484629" r:id="rId31"/>
    <p:sldLayoutId id="2147484630" r:id="rId32"/>
    <p:sldLayoutId id="2147484631" r:id="rId33"/>
    <p:sldLayoutId id="2147484632" r:id="rId34"/>
    <p:sldLayoutId id="2147484633" r:id="rId35"/>
    <p:sldLayoutId id="2147485606" r:id="rId36"/>
    <p:sldLayoutId id="2147484635" r:id="rId37"/>
    <p:sldLayoutId id="2147484636" r:id="rId38"/>
    <p:sldLayoutId id="2147484637" r:id="rId39"/>
    <p:sldLayoutId id="2147484638" r:id="rId40"/>
    <p:sldLayoutId id="2147484639" r:id="rId41"/>
    <p:sldLayoutId id="2147484640" r:id="rId42"/>
    <p:sldLayoutId id="2147484641" r:id="rId43"/>
    <p:sldLayoutId id="2147484642" r:id="rId44"/>
    <p:sldLayoutId id="2147484643" r:id="rId45"/>
    <p:sldLayoutId id="2147484644" r:id="rId46"/>
    <p:sldLayoutId id="2147484645" r:id="rId47"/>
    <p:sldLayoutId id="2147484646" r:id="rId48"/>
    <p:sldLayoutId id="2147484647" r:id="rId49"/>
    <p:sldLayoutId id="2147484648" r:id="rId50"/>
    <p:sldLayoutId id="2147484649" r:id="rId51"/>
    <p:sldLayoutId id="2147484650" r:id="rId52"/>
    <p:sldLayoutId id="2147484651" r:id="rId53"/>
    <p:sldLayoutId id="2147485698" r:id="rId54"/>
    <p:sldLayoutId id="2147485699" r:id="rId55"/>
    <p:sldLayoutId id="2147485700" r:id="rId56"/>
    <p:sldLayoutId id="2147485701" r:id="rId57"/>
    <p:sldLayoutId id="2147484656" r:id="rId58"/>
    <p:sldLayoutId id="2147484657" r:id="rId59"/>
    <p:sldLayoutId id="2147484658" r:id="rId60"/>
    <p:sldLayoutId id="2147484659" r:id="rId61"/>
    <p:sldLayoutId id="2147484660" r:id="rId62"/>
    <p:sldLayoutId id="2147484661" r:id="rId63"/>
    <p:sldLayoutId id="2147484662" r:id="rId64"/>
    <p:sldLayoutId id="2147484663" r:id="rId65"/>
    <p:sldLayoutId id="2147484664" r:id="rId66"/>
    <p:sldLayoutId id="2147484665" r:id="rId67"/>
    <p:sldLayoutId id="2147484666" r:id="rId68"/>
    <p:sldLayoutId id="2147484667" r:id="rId69"/>
    <p:sldLayoutId id="2147484668" r:id="rId70"/>
    <p:sldLayoutId id="2147484669" r:id="rId71"/>
    <p:sldLayoutId id="2147484670" r:id="rId72"/>
    <p:sldLayoutId id="2147484671" r:id="rId73"/>
    <p:sldLayoutId id="2147484672" r:id="rId74"/>
    <p:sldLayoutId id="2147484673" r:id="rId75"/>
    <p:sldLayoutId id="2147484674" r:id="rId76"/>
    <p:sldLayoutId id="2147484675" r:id="rId77"/>
    <p:sldLayoutId id="2147484676" r:id="rId78"/>
    <p:sldLayoutId id="2147484677" r:id="rId79"/>
    <p:sldLayoutId id="2147484678" r:id="rId80"/>
    <p:sldLayoutId id="2147484679" r:id="rId81"/>
    <p:sldLayoutId id="2147484680" r:id="rId82"/>
    <p:sldLayoutId id="2147484681" r:id="rId83"/>
    <p:sldLayoutId id="2147484682" r:id="rId84"/>
    <p:sldLayoutId id="2147484683" r:id="rId85"/>
    <p:sldLayoutId id="2147484684" r:id="rId86"/>
    <p:sldLayoutId id="2147484685" r:id="rId87"/>
    <p:sldLayoutId id="2147484686" r:id="rId88"/>
    <p:sldLayoutId id="2147484687" r:id="rId89"/>
    <p:sldLayoutId id="2147484688" r:id="rId90"/>
    <p:sldLayoutId id="2147484689" r:id="rId91"/>
    <p:sldLayoutId id="2147484690" r:id="rId92"/>
    <p:sldLayoutId id="2147484691" r:id="rId93"/>
    <p:sldLayoutId id="2147484692" r:id="rId94"/>
    <p:sldLayoutId id="2147484693" r:id="rId95"/>
    <p:sldLayoutId id="2147484694" r:id="rId96"/>
    <p:sldLayoutId id="2147484695" r:id="rId97"/>
    <p:sldLayoutId id="2147484696" r:id="rId98"/>
    <p:sldLayoutId id="2147484697" r:id="rId99"/>
    <p:sldLayoutId id="2147484698" r:id="rId100"/>
    <p:sldLayoutId id="2147484699" r:id="rId101"/>
    <p:sldLayoutId id="2147484700" r:id="rId102"/>
    <p:sldLayoutId id="2147484701" r:id="rId103"/>
    <p:sldLayoutId id="2147484702" r:id="rId104"/>
    <p:sldLayoutId id="2147484703" r:id="rId105"/>
    <p:sldLayoutId id="2147484704" r:id="rId106"/>
    <p:sldLayoutId id="2147484705" r:id="rId107"/>
    <p:sldLayoutId id="2147484706" r:id="rId108"/>
    <p:sldLayoutId id="2147484707" r:id="rId109"/>
    <p:sldLayoutId id="2147484708" r:id="rId110"/>
    <p:sldLayoutId id="2147484709" r:id="rId111"/>
    <p:sldLayoutId id="2147484710" r:id="rId112"/>
    <p:sldLayoutId id="2147484711" r:id="rId113"/>
    <p:sldLayoutId id="2147484712" r:id="rId114"/>
    <p:sldLayoutId id="2147484713" r:id="rId115"/>
    <p:sldLayoutId id="2147484714" r:id="rId116"/>
    <p:sldLayoutId id="2147484715" r:id="rId117"/>
    <p:sldLayoutId id="2147484716" r:id="rId118"/>
    <p:sldLayoutId id="2147484717" r:id="rId119"/>
    <p:sldLayoutId id="2147484718" r:id="rId120"/>
    <p:sldLayoutId id="2147484719" r:id="rId121"/>
    <p:sldLayoutId id="2147484720" r:id="rId122"/>
    <p:sldLayoutId id="2147484721" r:id="rId123"/>
    <p:sldLayoutId id="2147484722" r:id="rId124"/>
    <p:sldLayoutId id="2147484723" r:id="rId125"/>
    <p:sldLayoutId id="2147484724" r:id="rId126"/>
    <p:sldLayoutId id="2147484725" r:id="rId127"/>
    <p:sldLayoutId id="2147484726" r:id="rId128"/>
    <p:sldLayoutId id="2147484727" r:id="rId129"/>
    <p:sldLayoutId id="2147484728" r:id="rId130"/>
    <p:sldLayoutId id="2147484729" r:id="rId131"/>
    <p:sldLayoutId id="2147484730" r:id="rId132"/>
    <p:sldLayoutId id="2147484731" r:id="rId133"/>
    <p:sldLayoutId id="2147484732" r:id="rId134"/>
    <p:sldLayoutId id="2147484733" r:id="rId135"/>
    <p:sldLayoutId id="2147484734" r:id="rId136"/>
    <p:sldLayoutId id="2147484735" r:id="rId137"/>
    <p:sldLayoutId id="2147484736" r:id="rId138"/>
    <p:sldLayoutId id="2147484737" r:id="rId139"/>
    <p:sldLayoutId id="2147484738" r:id="rId140"/>
    <p:sldLayoutId id="2147484739" r:id="rId141"/>
    <p:sldLayoutId id="2147484740" r:id="rId142"/>
    <p:sldLayoutId id="2147484741" r:id="rId143"/>
    <p:sldLayoutId id="2147484742" r:id="rId144"/>
    <p:sldLayoutId id="2147484743" r:id="rId145"/>
    <p:sldLayoutId id="2147484744" r:id="rId146"/>
    <p:sldLayoutId id="2147484745" r:id="rId147"/>
    <p:sldLayoutId id="2147484746" r:id="rId148"/>
    <p:sldLayoutId id="2147484747" r:id="rId149"/>
    <p:sldLayoutId id="2147484748" r:id="rId150"/>
    <p:sldLayoutId id="2147484749" r:id="rId151"/>
    <p:sldLayoutId id="2147484750" r:id="rId152"/>
    <p:sldLayoutId id="2147484751" r:id="rId153"/>
    <p:sldLayoutId id="2147484752" r:id="rId154"/>
    <p:sldLayoutId id="2147484753" r:id="rId155"/>
    <p:sldLayoutId id="2147484754" r:id="rId156"/>
    <p:sldLayoutId id="2147484755" r:id="rId157"/>
    <p:sldLayoutId id="2147484756" r:id="rId158"/>
    <p:sldLayoutId id="2147484757" r:id="rId159"/>
    <p:sldLayoutId id="2147484758" r:id="rId160"/>
    <p:sldLayoutId id="2147484759" r:id="rId161"/>
    <p:sldLayoutId id="2147484760" r:id="rId162"/>
    <p:sldLayoutId id="2147484761" r:id="rId163"/>
    <p:sldLayoutId id="2147484762" r:id="rId164"/>
    <p:sldLayoutId id="2147484763" r:id="rId165"/>
    <p:sldLayoutId id="2147484764" r:id="rId166"/>
    <p:sldLayoutId id="2147484765" r:id="rId167"/>
    <p:sldLayoutId id="2147484766" r:id="rId168"/>
    <p:sldLayoutId id="2147484767" r:id="rId169"/>
    <p:sldLayoutId id="2147484768" r:id="rId170"/>
    <p:sldLayoutId id="2147484769" r:id="rId171"/>
    <p:sldLayoutId id="2147484770" r:id="rId172"/>
    <p:sldLayoutId id="2147484771" r:id="rId173"/>
    <p:sldLayoutId id="2147484772" r:id="rId174"/>
    <p:sldLayoutId id="2147484773" r:id="rId175"/>
    <p:sldLayoutId id="2147484774" r:id="rId176"/>
    <p:sldLayoutId id="2147484775" r:id="rId177"/>
    <p:sldLayoutId id="2147484776" r:id="rId178"/>
    <p:sldLayoutId id="2147484777" r:id="rId179"/>
    <p:sldLayoutId id="2147484778" r:id="rId180"/>
    <p:sldLayoutId id="2147484779" r:id="rId181"/>
    <p:sldLayoutId id="2147484780" r:id="rId182"/>
    <p:sldLayoutId id="2147488388" r:id="rId183"/>
    <p:sldLayoutId id="2147484782" r:id="rId184"/>
    <p:sldLayoutId id="2147484783" r:id="rId185"/>
    <p:sldLayoutId id="2147484784" r:id="rId186"/>
    <p:sldLayoutId id="2147484785" r:id="rId187"/>
    <p:sldLayoutId id="2147484786" r:id="rId188"/>
    <p:sldLayoutId id="2147484787" r:id="rId189"/>
    <p:sldLayoutId id="2147484788" r:id="rId190"/>
    <p:sldLayoutId id="2147484789" r:id="rId191"/>
    <p:sldLayoutId id="2147484790" r:id="rId192"/>
    <p:sldLayoutId id="2147484791" r:id="rId193"/>
    <p:sldLayoutId id="2147484792" r:id="rId194"/>
    <p:sldLayoutId id="2147484793" r:id="rId195"/>
    <p:sldLayoutId id="2147484794" r:id="rId196"/>
    <p:sldLayoutId id="2147484795" r:id="rId197"/>
    <p:sldLayoutId id="2147484796" r:id="rId198"/>
    <p:sldLayoutId id="2147484797" r:id="rId199"/>
    <p:sldLayoutId id="2147484798" r:id="rId200"/>
    <p:sldLayoutId id="2147484799" r:id="rId201"/>
    <p:sldLayoutId id="2147484800" r:id="rId202"/>
    <p:sldLayoutId id="2147484801" r:id="rId203"/>
    <p:sldLayoutId id="2147484802" r:id="rId204"/>
    <p:sldLayoutId id="2147484803" r:id="rId205"/>
    <p:sldLayoutId id="2147484804" r:id="rId206"/>
    <p:sldLayoutId id="2147484805" r:id="rId207"/>
    <p:sldLayoutId id="2147484806" r:id="rId208"/>
    <p:sldLayoutId id="2147484807" r:id="rId209"/>
    <p:sldLayoutId id="2147484808" r:id="rId210"/>
    <p:sldLayoutId id="2147484809" r:id="rId211"/>
    <p:sldLayoutId id="2147484810" r:id="rId212"/>
    <p:sldLayoutId id="2147484811" r:id="rId213"/>
    <p:sldLayoutId id="2147484812" r:id="rId214"/>
    <p:sldLayoutId id="2147485680" r:id="rId215"/>
    <p:sldLayoutId id="2147484814" r:id="rId216"/>
    <p:sldLayoutId id="2147485682" r:id="rId217"/>
    <p:sldLayoutId id="2147485683" r:id="rId218"/>
    <p:sldLayoutId id="2147485684" r:id="rId219"/>
    <p:sldLayoutId id="2147484818" r:id="rId220"/>
    <p:sldLayoutId id="2147484819" r:id="rId221"/>
    <p:sldLayoutId id="2147484820" r:id="rId222"/>
    <p:sldLayoutId id="2147485643" r:id="rId223"/>
    <p:sldLayoutId id="2147485651" r:id="rId224"/>
    <p:sldLayoutId id="2147484823" r:id="rId225"/>
    <p:sldLayoutId id="2147484824" r:id="rId226"/>
    <p:sldLayoutId id="2147484825" r:id="rId227"/>
    <p:sldLayoutId id="2147484826" r:id="rId228"/>
    <p:sldLayoutId id="2147484827" r:id="rId229"/>
    <p:sldLayoutId id="2147484828" r:id="rId230"/>
    <p:sldLayoutId id="2147485625" r:id="rId23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47" r:id="rId1"/>
    <p:sldLayoutId id="2147488248" r:id="rId2"/>
    <p:sldLayoutId id="2147488249" r:id="rId3"/>
    <p:sldLayoutId id="2147488250" r:id="rId4"/>
    <p:sldLayoutId id="2147488251" r:id="rId5"/>
    <p:sldLayoutId id="2147488252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8242" r:id="rId12"/>
    <p:sldLayoutId id="2147488243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6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30.svg"/><Relationship Id="rId3" Type="http://schemas.openxmlformats.org/officeDocument/2006/relationships/image" Target="../media/image120.svg"/><Relationship Id="rId7" Type="http://schemas.openxmlformats.org/officeDocument/2006/relationships/image" Target="../media/image124.svg"/><Relationship Id="rId12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91.xml"/><Relationship Id="rId6" Type="http://schemas.openxmlformats.org/officeDocument/2006/relationships/image" Target="../media/image98.png"/><Relationship Id="rId11" Type="http://schemas.openxmlformats.org/officeDocument/2006/relationships/image" Target="../media/image128.svg"/><Relationship Id="rId5" Type="http://schemas.openxmlformats.org/officeDocument/2006/relationships/image" Target="../media/image122.svg"/><Relationship Id="rId10" Type="http://schemas.openxmlformats.org/officeDocument/2006/relationships/image" Target="../media/image100.png"/><Relationship Id="rId4" Type="http://schemas.openxmlformats.org/officeDocument/2006/relationships/image" Target="../media/image97.png"/><Relationship Id="rId9" Type="http://schemas.openxmlformats.org/officeDocument/2006/relationships/image" Target="../media/image12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aleena.surenian@northwestern.edu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8.xml"/><Relationship Id="rId4" Type="http://schemas.microsoft.com/office/2018/10/relationships/comments" Target="../comments/modernComment_2BC_8E5768E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2.xml"/><Relationship Id="rId4" Type="http://schemas.openxmlformats.org/officeDocument/2006/relationships/image" Target="../media/image10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90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4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5.xml"/></Relationships>
</file>

<file path=ppt/slides/_rels/slide27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34B_8CDB37A9.xml"/><Relationship Id="rId1" Type="http://schemas.openxmlformats.org/officeDocument/2006/relationships/slideLayout" Target="../slideLayouts/slideLayout69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9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svg"/><Relationship Id="rId3" Type="http://schemas.openxmlformats.org/officeDocument/2006/relationships/image" Target="../media/image110.png"/><Relationship Id="rId7" Type="http://schemas.openxmlformats.org/officeDocument/2006/relationships/image" Target="../media/image112.png"/><Relationship Id="rId12" Type="http://schemas.openxmlformats.org/officeDocument/2006/relationships/image" Target="../media/image148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93.xml"/><Relationship Id="rId6" Type="http://schemas.openxmlformats.org/officeDocument/2006/relationships/image" Target="../media/image142.svg"/><Relationship Id="rId11" Type="http://schemas.openxmlformats.org/officeDocument/2006/relationships/image" Target="../media/image114.png"/><Relationship Id="rId5" Type="http://schemas.openxmlformats.org/officeDocument/2006/relationships/image" Target="../media/image111.png"/><Relationship Id="rId10" Type="http://schemas.openxmlformats.org/officeDocument/2006/relationships/image" Target="../media/image146.svg"/><Relationship Id="rId4" Type="http://schemas.openxmlformats.org/officeDocument/2006/relationships/image" Target="../media/image140.svg"/><Relationship Id="rId9" Type="http://schemas.openxmlformats.org/officeDocument/2006/relationships/image" Target="../media/image1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svg"/><Relationship Id="rId3" Type="http://schemas.openxmlformats.org/officeDocument/2006/relationships/image" Target="../media/image115.png"/><Relationship Id="rId7" Type="http://schemas.openxmlformats.org/officeDocument/2006/relationships/image" Target="../media/image1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98.xml"/><Relationship Id="rId6" Type="http://schemas.openxmlformats.org/officeDocument/2006/relationships/image" Target="../media/image152.svg"/><Relationship Id="rId5" Type="http://schemas.openxmlformats.org/officeDocument/2006/relationships/image" Target="../media/image116.png"/><Relationship Id="rId4" Type="http://schemas.openxmlformats.org/officeDocument/2006/relationships/image" Target="../media/image150.svg"/><Relationship Id="rId9" Type="http://schemas.openxmlformats.org/officeDocument/2006/relationships/image" Target="../media/image11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91.xml"/><Relationship Id="rId4" Type="http://schemas.openxmlformats.org/officeDocument/2006/relationships/image" Target="../media/image157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svg"/><Relationship Id="rId13" Type="http://schemas.openxmlformats.org/officeDocument/2006/relationships/image" Target="../media/image168.svg"/><Relationship Id="rId18" Type="http://schemas.openxmlformats.org/officeDocument/2006/relationships/image" Target="../media/image173.svg"/><Relationship Id="rId21" Type="http://schemas.openxmlformats.org/officeDocument/2006/relationships/image" Target="../media/image130.png"/><Relationship Id="rId7" Type="http://schemas.openxmlformats.org/officeDocument/2006/relationships/image" Target="../media/image122.png"/><Relationship Id="rId12" Type="http://schemas.openxmlformats.org/officeDocument/2006/relationships/image" Target="../media/image125.png"/><Relationship Id="rId17" Type="http://schemas.openxmlformats.org/officeDocument/2006/relationships/image" Target="../media/image128.png"/><Relationship Id="rId2" Type="http://schemas.openxmlformats.org/officeDocument/2006/relationships/image" Target="../media/image120.png"/><Relationship Id="rId16" Type="http://schemas.openxmlformats.org/officeDocument/2006/relationships/image" Target="../media/image171.svg"/><Relationship Id="rId20" Type="http://schemas.openxmlformats.org/officeDocument/2006/relationships/image" Target="../media/image175.svg"/><Relationship Id="rId1" Type="http://schemas.openxmlformats.org/officeDocument/2006/relationships/slideLayout" Target="../slideLayouts/slideLayout891.xml"/><Relationship Id="rId6" Type="http://schemas.openxmlformats.org/officeDocument/2006/relationships/image" Target="../media/image161.svg"/><Relationship Id="rId11" Type="http://schemas.openxmlformats.org/officeDocument/2006/relationships/image" Target="../media/image124.png"/><Relationship Id="rId5" Type="http://schemas.openxmlformats.org/officeDocument/2006/relationships/image" Target="../media/image121.png"/><Relationship Id="rId15" Type="http://schemas.openxmlformats.org/officeDocument/2006/relationships/image" Target="../media/image127.png"/><Relationship Id="rId23" Type="http://schemas.microsoft.com/office/2018/10/relationships/comments" Target="../comments/modernComment_346_97A98764.xml"/><Relationship Id="rId10" Type="http://schemas.openxmlformats.org/officeDocument/2006/relationships/image" Target="../media/image165.svg"/><Relationship Id="rId19" Type="http://schemas.openxmlformats.org/officeDocument/2006/relationships/image" Target="../media/image129.png"/><Relationship Id="rId4" Type="http://schemas.openxmlformats.org/officeDocument/2006/relationships/image" Target="../media/image159.svg"/><Relationship Id="rId9" Type="http://schemas.openxmlformats.org/officeDocument/2006/relationships/image" Target="../media/image123.png"/><Relationship Id="rId14" Type="http://schemas.openxmlformats.org/officeDocument/2006/relationships/image" Target="../media/image126.png"/><Relationship Id="rId22" Type="http://schemas.openxmlformats.org/officeDocument/2006/relationships/image" Target="../media/image177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13" Type="http://schemas.openxmlformats.org/officeDocument/2006/relationships/image" Target="../media/image183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33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35.png"/><Relationship Id="rId1" Type="http://schemas.openxmlformats.org/officeDocument/2006/relationships/slideLayout" Target="../slideLayouts/slideLayout886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81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85.svg"/><Relationship Id="rId10" Type="http://schemas.openxmlformats.org/officeDocument/2006/relationships/image" Target="../media/image13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79.svg"/><Relationship Id="rId14" Type="http://schemas.openxmlformats.org/officeDocument/2006/relationships/image" Target="../media/image134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9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2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svg"/><Relationship Id="rId7" Type="http://schemas.openxmlformats.org/officeDocument/2006/relationships/image" Target="../media/image202.sv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3.png"/><Relationship Id="rId5" Type="http://schemas.openxmlformats.org/officeDocument/2006/relationships/image" Target="../media/image200.svg"/><Relationship Id="rId4" Type="http://schemas.openxmlformats.org/officeDocument/2006/relationships/image" Target="../media/image142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svg"/><Relationship Id="rId7" Type="http://schemas.openxmlformats.org/officeDocument/2006/relationships/image" Target="../media/image209.sv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7.png"/><Relationship Id="rId5" Type="http://schemas.openxmlformats.org/officeDocument/2006/relationships/image" Target="../media/image207.svg"/><Relationship Id="rId4" Type="http://schemas.openxmlformats.org/officeDocument/2006/relationships/image" Target="../media/image14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svg"/><Relationship Id="rId7" Type="http://schemas.openxmlformats.org/officeDocument/2006/relationships/image" Target="../media/image215.sv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0.png"/><Relationship Id="rId5" Type="http://schemas.openxmlformats.org/officeDocument/2006/relationships/image" Target="../media/image213.svg"/><Relationship Id="rId4" Type="http://schemas.openxmlformats.org/officeDocument/2006/relationships/image" Target="../media/image149.png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338_424D7366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2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jpeg"/><Relationship Id="rId1" Type="http://schemas.openxmlformats.org/officeDocument/2006/relationships/slideLayout" Target="../slideLayouts/slideLayout69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3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891.xml"/><Relationship Id="rId4" Type="http://schemas.openxmlformats.org/officeDocument/2006/relationships/image" Target="../media/image10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891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87.png"/><Relationship Id="rId4" Type="http://schemas.openxmlformats.org/officeDocument/2006/relationships/image" Target="../media/image8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405.xml"/><Relationship Id="rId6" Type="http://schemas.openxmlformats.org/officeDocument/2006/relationships/image" Target="../media/image114.sv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4555" y="1184149"/>
            <a:ext cx="5202557" cy="1850151"/>
          </a:xfrm>
        </p:spPr>
        <p:txBody>
          <a:bodyPr>
            <a:noAutofit/>
          </a:bodyPr>
          <a:lstStyle/>
          <a:p>
            <a:r>
              <a:rPr lang="en-US" sz="3000">
                <a:latin typeface="Arial"/>
                <a:ea typeface="Lato Medium"/>
                <a:cs typeface="Lato Medium"/>
              </a:rPr>
              <a:t>ILPQC: Supporting teams to achieve QI Excellence</a:t>
            </a:r>
            <a:endParaRPr lang="en-US"/>
          </a:p>
        </p:txBody>
      </p:sp>
      <p:pic>
        <p:nvPicPr>
          <p:cNvPr id="5" name="object 10" descr="Family kissing baby's feet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450290" y="1353539"/>
            <a:ext cx="5748097" cy="38374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object 9">
            <a:extLst>
              <a:ext uri="{FF2B5EF4-FFF2-40B4-BE49-F238E27FC236}">
                <a16:creationId xmlns:a16="http://schemas.microsoft.com/office/drawing/2014/main" id="{E2FF8D45-BFEB-7CA2-6CDA-61B2AF4C1505}"/>
              </a:ext>
            </a:extLst>
          </p:cNvPr>
          <p:cNvSpPr txBox="1"/>
          <p:nvPr/>
        </p:nvSpPr>
        <p:spPr>
          <a:xfrm>
            <a:off x="1451837" y="3171546"/>
            <a:ext cx="7512954" cy="1274580"/>
          </a:xfrm>
          <a:prstGeom prst="rect">
            <a:avLst/>
          </a:prstGeom>
          <a:noFill/>
        </p:spPr>
        <p:txBody>
          <a:bodyPr vert="horz" wrap="square" lIns="0" tIns="1270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24600"/>
              </a:lnSpc>
              <a:spcBef>
                <a:spcPts val="100"/>
              </a:spcBef>
            </a:pPr>
            <a:r>
              <a:rPr lang="en-US" sz="2200" b="1" spc="-5">
                <a:solidFill>
                  <a:srgbClr val="548BDC"/>
                </a:solidFill>
                <a:latin typeface="Arial"/>
                <a:cs typeface="Arial"/>
              </a:rPr>
              <a:t>OSF Saint Francis Medical Center</a:t>
            </a:r>
            <a:endParaRPr lang="en-US" sz="2200" b="1">
              <a:solidFill>
                <a:srgbClr val="548BDC"/>
              </a:solidFill>
            </a:endParaRPr>
          </a:p>
          <a:p>
            <a:pPr marL="12700">
              <a:lnSpc>
                <a:spcPct val="124600"/>
              </a:lnSpc>
              <a:spcBef>
                <a:spcPts val="100"/>
              </a:spcBef>
            </a:pPr>
            <a:r>
              <a:rPr lang="en-US" sz="2200" b="1" spc="-5">
                <a:solidFill>
                  <a:srgbClr val="548BDC"/>
                </a:solidFill>
                <a:latin typeface="Arial"/>
                <a:cs typeface="Arial"/>
              </a:rPr>
              <a:t>North Central Perinatal Network</a:t>
            </a:r>
            <a:endParaRPr lang="en-US" sz="2200" b="1">
              <a:solidFill>
                <a:srgbClr val="548BDC"/>
              </a:solidFill>
            </a:endParaRPr>
          </a:p>
          <a:p>
            <a:pPr marL="12700" marR="5080">
              <a:lnSpc>
                <a:spcPct val="124600"/>
              </a:lnSpc>
              <a:spcBef>
                <a:spcPts val="100"/>
              </a:spcBef>
            </a:pPr>
            <a:r>
              <a:rPr lang="en-US" sz="2200" b="1" spc="-5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February 2024</a:t>
            </a:r>
            <a:endParaRPr lang="en-US" sz="2200">
              <a:solidFill>
                <a:schemeClr val="accent1">
                  <a:lumMod val="60000"/>
                  <a:lumOff val="4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1904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E9407A-4283-B111-345C-31D89DFF0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>
                <a:ea typeface="Lato Medium"/>
                <a:cs typeface="Lato Medium"/>
              </a:rPr>
              <a:t>What is QI? A Brief Intro</a:t>
            </a:r>
            <a:endParaRPr lang="en-US" sz="48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5E3C3-3F87-0EF1-E88A-5A092D2559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QI= quality improve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13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diagram of a system&#10;&#10;Description automatically generated">
            <a:extLst>
              <a:ext uri="{FF2B5EF4-FFF2-40B4-BE49-F238E27FC236}">
                <a16:creationId xmlns:a16="http://schemas.microsoft.com/office/drawing/2014/main" id="{88C41695-E6F3-DBC8-D295-A24473E9E3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9127" y="1119218"/>
            <a:ext cx="8456473" cy="5137149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97CC922-DCBC-6909-3C50-81936822364F}"/>
              </a:ext>
            </a:extLst>
          </p:cNvPr>
          <p:cNvSpPr/>
          <p:nvPr/>
        </p:nvSpPr>
        <p:spPr>
          <a:xfrm>
            <a:off x="10652759" y="777239"/>
            <a:ext cx="1524000" cy="6757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EAE34A-2D52-A58C-2DA2-581F73FFE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39520"/>
            <a:ext cx="3429000" cy="1719072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800">
                <a:ea typeface="+mj-lt"/>
                <a:cs typeface="+mj-lt"/>
              </a:rPr>
              <a:t>What is Quality Improvement?</a:t>
            </a:r>
            <a:endParaRPr lang="en-US" sz="3800"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A27773-1202-54D2-AF68-935146AF3365}"/>
              </a:ext>
            </a:extLst>
          </p:cNvPr>
          <p:cNvSpPr txBox="1"/>
          <p:nvPr/>
        </p:nvSpPr>
        <p:spPr>
          <a:xfrm rot="-10800000" flipV="1">
            <a:off x="626853" y="3689230"/>
            <a:ext cx="3001994" cy="17081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100" b="1">
                <a:solidFill>
                  <a:srgbClr val="FF0000"/>
                </a:solidFill>
              </a:rPr>
              <a:t>**Quality Improvement work is NOT </a:t>
            </a:r>
          </a:p>
          <a:p>
            <a:r>
              <a:rPr lang="en-US" sz="2100" b="1">
                <a:solidFill>
                  <a:srgbClr val="FF0000"/>
                </a:solidFill>
              </a:rPr>
              <a:t>just education or</a:t>
            </a:r>
            <a:endParaRPr lang="en-US" sz="2100" b="1">
              <a:solidFill>
                <a:srgbClr val="FF0000"/>
              </a:solidFill>
              <a:ea typeface="Calibri"/>
              <a:cs typeface="Calibri"/>
            </a:endParaRPr>
          </a:p>
          <a:p>
            <a:r>
              <a:rPr lang="en-US" sz="2100" b="1">
                <a:solidFill>
                  <a:srgbClr val="FF0000"/>
                </a:solidFill>
              </a:rPr>
              <a:t>large roll outs of one idea</a:t>
            </a:r>
            <a:r>
              <a:rPr lang="en-US" sz="2100" b="1">
                <a:solidFill>
                  <a:srgbClr val="FF0000"/>
                </a:solidFill>
                <a:ea typeface="Calibri"/>
                <a:cs typeface="Calibri"/>
              </a:rPr>
              <a:t>​</a:t>
            </a:r>
            <a:endParaRPr lang="en-US" sz="2100">
              <a:solidFill>
                <a:srgbClr val="444C55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191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5493026" cy="1325563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30-60-90 Day pl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5625"/>
            <a:ext cx="3777673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QI tool helps to identify, prioritize and implement actions to move QI project forward</a:t>
            </a:r>
          </a:p>
          <a:p>
            <a:r>
              <a:rPr lang="en-US">
                <a:ea typeface="Lato"/>
                <a:cs typeface="Lato"/>
              </a:rPr>
              <a:t>30/60/90 cycle: break actions down into manageable chunks</a:t>
            </a:r>
          </a:p>
          <a:p>
            <a:r>
              <a:rPr lang="en-US">
                <a:ea typeface="+mn-lt"/>
                <a:cs typeface="+mn-lt"/>
              </a:rPr>
              <a:t>Include a clear and specific objective and a clear timescale for each cyc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400" y="1446273"/>
            <a:ext cx="7973214" cy="520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6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diagram of a plan and study&#10;&#10;Description automatically generated">
            <a:extLst>
              <a:ext uri="{FF2B5EF4-FFF2-40B4-BE49-F238E27FC236}">
                <a16:creationId xmlns:a16="http://schemas.microsoft.com/office/drawing/2014/main" id="{ADD5BB0D-E8E5-F0C4-66FF-C6015A844E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3453437" y="-18"/>
            <a:ext cx="4827922" cy="6857999"/>
          </a:xfrm>
          <a:custGeom>
            <a:avLst/>
            <a:gdLst/>
            <a:ahLst/>
            <a:cxnLst/>
            <a:rect l="l" t="t" r="r" b="b"/>
            <a:pathLst>
              <a:path w="4827922" h="6858000">
                <a:moveTo>
                  <a:pt x="4441" y="0"/>
                </a:moveTo>
                <a:lnTo>
                  <a:pt x="4827922" y="0"/>
                </a:lnTo>
                <a:lnTo>
                  <a:pt x="4827922" y="6858000"/>
                </a:lnTo>
                <a:lnTo>
                  <a:pt x="0" y="6858000"/>
                </a:lnTo>
                <a:lnTo>
                  <a:pt x="106674" y="6638378"/>
                </a:lnTo>
                <a:cubicBezTo>
                  <a:pt x="530028" y="5720938"/>
                  <a:pt x="777229" y="4614948"/>
                  <a:pt x="777229" y="3424428"/>
                </a:cubicBezTo>
                <a:cubicBezTo>
                  <a:pt x="777229" y="2233909"/>
                  <a:pt x="530028" y="1127919"/>
                  <a:pt x="106674" y="210478"/>
                </a:cubicBezTo>
                <a:close/>
              </a:path>
            </a:pathLst>
          </a:custGeom>
        </p:spPr>
      </p:pic>
      <p:pic>
        <p:nvPicPr>
          <p:cNvPr id="11" name="Picture 10" descr="A diagram of a plan and plan&#10;&#10;Description automatically generated">
            <a:extLst>
              <a:ext uri="{FF2B5EF4-FFF2-40B4-BE49-F238E27FC236}">
                <a16:creationId xmlns:a16="http://schemas.microsoft.com/office/drawing/2014/main" id="{E3B31575-1699-97A1-7D84-F659A8AEBB7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81" r="-2" b="10725"/>
          <a:stretch/>
        </p:blipFill>
        <p:spPr>
          <a:xfrm>
            <a:off x="7389435" y="18"/>
            <a:ext cx="4966290" cy="6857999"/>
          </a:xfrm>
          <a:custGeom>
            <a:avLst/>
            <a:gdLst/>
            <a:ahLst/>
            <a:cxnLst/>
            <a:rect l="l" t="t" r="r" b="b"/>
            <a:pathLst>
              <a:path w="4966290" h="6857999">
                <a:moveTo>
                  <a:pt x="0" y="0"/>
                </a:moveTo>
                <a:lnTo>
                  <a:pt x="4188230" y="0"/>
                </a:lnTo>
                <a:lnTo>
                  <a:pt x="4295735" y="210478"/>
                </a:lnTo>
                <a:cubicBezTo>
                  <a:pt x="4719089" y="1127919"/>
                  <a:pt x="4966290" y="2233909"/>
                  <a:pt x="4966290" y="3424428"/>
                </a:cubicBezTo>
                <a:cubicBezTo>
                  <a:pt x="4966290" y="4614948"/>
                  <a:pt x="4719089" y="5720938"/>
                  <a:pt x="4295735" y="6638378"/>
                </a:cubicBezTo>
                <a:lnTo>
                  <a:pt x="4183560" y="6857999"/>
                </a:lnTo>
                <a:lnTo>
                  <a:pt x="53039" y="6857999"/>
                </a:lnTo>
                <a:lnTo>
                  <a:pt x="132047" y="6695338"/>
                </a:lnTo>
                <a:cubicBezTo>
                  <a:pt x="555401" y="5777898"/>
                  <a:pt x="802602" y="4671908"/>
                  <a:pt x="802602" y="3481388"/>
                </a:cubicBezTo>
                <a:cubicBezTo>
                  <a:pt x="802602" y="2191659"/>
                  <a:pt x="512484" y="1001134"/>
                  <a:pt x="22579" y="42066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50660DD-55AA-9303-E4CF-AE555E148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056" y="681038"/>
            <a:ext cx="2804504" cy="1325563"/>
          </a:xfrm>
        </p:spPr>
        <p:txBody>
          <a:bodyPr anchor="ctr">
            <a:normAutofit/>
          </a:bodyPr>
          <a:lstStyle/>
          <a:p>
            <a:r>
              <a:rPr lang="en-US" sz="3100">
                <a:ea typeface="Lato Medium"/>
                <a:cs typeface="Calibri"/>
              </a:rPr>
              <a:t>PDSA Cycles</a:t>
            </a:r>
            <a:endParaRPr lang="en-US" sz="3100">
              <a:ea typeface="Lato Medium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BFFB4-BDFD-7CAA-7ED3-E8D59F73B2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056" y="2013756"/>
            <a:ext cx="3250201" cy="3918792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200">
                <a:ea typeface="+mn-lt"/>
                <a:cs typeface="+mn-lt"/>
              </a:rPr>
              <a:t>Develop a plan to test the change (</a:t>
            </a:r>
            <a:r>
              <a:rPr lang="en-US" sz="2200" b="1">
                <a:ea typeface="+mn-lt"/>
                <a:cs typeface="+mn-lt"/>
              </a:rPr>
              <a:t>Plan</a:t>
            </a:r>
            <a:r>
              <a:rPr lang="en-US" sz="2200">
                <a:ea typeface="+mn-lt"/>
                <a:cs typeface="+mn-lt"/>
              </a:rPr>
              <a:t>) </a:t>
            </a:r>
            <a:endParaRPr lang="en-US" sz="2200"/>
          </a:p>
          <a:p>
            <a:r>
              <a:rPr lang="en-US" sz="2200">
                <a:ea typeface="+mn-lt"/>
                <a:cs typeface="+mn-lt"/>
              </a:rPr>
              <a:t>Carry out the test (</a:t>
            </a:r>
            <a:r>
              <a:rPr lang="en-US" sz="2200" b="1">
                <a:ea typeface="+mn-lt"/>
                <a:cs typeface="+mn-lt"/>
              </a:rPr>
              <a:t>Do</a:t>
            </a:r>
            <a:r>
              <a:rPr lang="en-US" sz="2200">
                <a:ea typeface="+mn-lt"/>
                <a:cs typeface="+mn-lt"/>
              </a:rPr>
              <a:t>)</a:t>
            </a:r>
            <a:endParaRPr lang="en-US" sz="2200"/>
          </a:p>
          <a:p>
            <a:r>
              <a:rPr lang="en-US" sz="2200">
                <a:ea typeface="+mn-lt"/>
                <a:cs typeface="+mn-lt"/>
              </a:rPr>
              <a:t>Observe, analyze, and learn from the test (</a:t>
            </a:r>
            <a:r>
              <a:rPr lang="en-US" sz="2200" b="1">
                <a:ea typeface="+mn-lt"/>
                <a:cs typeface="+mn-lt"/>
              </a:rPr>
              <a:t>Study</a:t>
            </a:r>
            <a:r>
              <a:rPr lang="en-US" sz="2200">
                <a:ea typeface="+mn-lt"/>
                <a:cs typeface="+mn-lt"/>
              </a:rPr>
              <a:t>)</a:t>
            </a:r>
            <a:endParaRPr lang="en-US" sz="2200"/>
          </a:p>
          <a:p>
            <a:r>
              <a:rPr lang="en-US" sz="2200">
                <a:ea typeface="+mn-lt"/>
                <a:cs typeface="+mn-lt"/>
              </a:rPr>
              <a:t>Determine what modifications, if any, to make for the next cycle (</a:t>
            </a:r>
            <a:r>
              <a:rPr lang="en-US" sz="2200" b="1">
                <a:ea typeface="+mn-lt"/>
                <a:cs typeface="+mn-lt"/>
              </a:rPr>
              <a:t>Act</a:t>
            </a:r>
            <a:r>
              <a:rPr lang="en-US" sz="2200">
                <a:ea typeface="+mn-lt"/>
                <a:cs typeface="+mn-lt"/>
              </a:rPr>
              <a:t>) </a:t>
            </a:r>
            <a:endParaRPr lang="en-US" sz="22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B23182-521C-2DCB-0256-BF76AF151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49224" y="6356350"/>
            <a:ext cx="3857309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bg1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FF1913-0354-37F0-846A-03B88E2657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09888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bg1"/>
                </a:solidFill>
              </a:rPr>
              <a:pPr>
                <a:spcAft>
                  <a:spcPts val="600"/>
                </a:spcAft>
              </a:pPr>
              <a:t>13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8744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F37150"/>
                </a:solidFill>
                <a:ea typeface="Calibri"/>
                <a:cs typeface="Calibri"/>
              </a:rPr>
              <a:t>Birth Equity (BE):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3310" y="2707828"/>
            <a:ext cx="10688096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400" b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ontinuing to move this important work forward together.</a:t>
            </a:r>
            <a:endParaRPr lang="en-US" sz="34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5206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4265682" y="3930495"/>
            <a:ext cx="3554662" cy="2455310"/>
            <a:chOff x="0" y="0"/>
            <a:chExt cx="2387199" cy="164890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2387199" cy="1648909"/>
            </a:xfrm>
            <a:custGeom>
              <a:avLst/>
              <a:gdLst/>
              <a:ahLst/>
              <a:cxnLst/>
              <a:rect l="l" t="t" r="r" b="b"/>
              <a:pathLst>
                <a:path w="2387199" h="1648909">
                  <a:moveTo>
                    <a:pt x="0" y="0"/>
                  </a:moveTo>
                  <a:lnTo>
                    <a:pt x="2387199" y="0"/>
                  </a:lnTo>
                  <a:lnTo>
                    <a:pt x="2387199" y="1648909"/>
                  </a:lnTo>
                  <a:lnTo>
                    <a:pt x="0" y="1648909"/>
                  </a:lnTo>
                  <a:close/>
                </a:path>
              </a:pathLst>
            </a:custGeom>
            <a:solidFill>
              <a:srgbClr val="7ED957"/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8081035" y="3930495"/>
            <a:ext cx="3554662" cy="2455310"/>
            <a:chOff x="0" y="0"/>
            <a:chExt cx="2387199" cy="1648909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2387199" cy="1648909"/>
            </a:xfrm>
            <a:custGeom>
              <a:avLst/>
              <a:gdLst/>
              <a:ahLst/>
              <a:cxnLst/>
              <a:rect l="l" t="t" r="r" b="b"/>
              <a:pathLst>
                <a:path w="2387199" h="1648909">
                  <a:moveTo>
                    <a:pt x="0" y="0"/>
                  </a:moveTo>
                  <a:lnTo>
                    <a:pt x="2387199" y="0"/>
                  </a:lnTo>
                  <a:lnTo>
                    <a:pt x="2387199" y="1648909"/>
                  </a:lnTo>
                  <a:lnTo>
                    <a:pt x="0" y="1648909"/>
                  </a:lnTo>
                  <a:close/>
                </a:path>
              </a:pathLst>
            </a:custGeom>
            <a:solidFill>
              <a:srgbClr val="FF66C4"/>
            </a:solidFill>
          </p:spPr>
        </p:sp>
      </p:grpSp>
      <p:grpSp>
        <p:nvGrpSpPr>
          <p:cNvPr id="6" name="Group 6"/>
          <p:cNvGrpSpPr/>
          <p:nvPr/>
        </p:nvGrpSpPr>
        <p:grpSpPr>
          <a:xfrm>
            <a:off x="4265318" y="1243801"/>
            <a:ext cx="3554662" cy="2438363"/>
            <a:chOff x="0" y="0"/>
            <a:chExt cx="2387199" cy="1637528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2387199" cy="1637528"/>
            </a:xfrm>
            <a:custGeom>
              <a:avLst/>
              <a:gdLst/>
              <a:ahLst/>
              <a:cxnLst/>
              <a:rect l="l" t="t" r="r" b="b"/>
              <a:pathLst>
                <a:path w="2387199" h="1637528">
                  <a:moveTo>
                    <a:pt x="0" y="0"/>
                  </a:moveTo>
                  <a:lnTo>
                    <a:pt x="2387199" y="0"/>
                  </a:lnTo>
                  <a:lnTo>
                    <a:pt x="2387199" y="1637528"/>
                  </a:lnTo>
                  <a:lnTo>
                    <a:pt x="0" y="1637528"/>
                  </a:lnTo>
                  <a:close/>
                </a:path>
              </a:pathLst>
            </a:custGeom>
            <a:solidFill>
              <a:srgbClr val="FF5757"/>
            </a:solidFill>
          </p:spPr>
        </p:sp>
      </p:grpSp>
      <p:grpSp>
        <p:nvGrpSpPr>
          <p:cNvPr id="8" name="Group 8"/>
          <p:cNvGrpSpPr/>
          <p:nvPr/>
        </p:nvGrpSpPr>
        <p:grpSpPr>
          <a:xfrm>
            <a:off x="8081035" y="1226854"/>
            <a:ext cx="3554662" cy="2455310"/>
            <a:chOff x="0" y="0"/>
            <a:chExt cx="2387199" cy="1648909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2387199" cy="1648909"/>
            </a:xfrm>
            <a:custGeom>
              <a:avLst/>
              <a:gdLst/>
              <a:ahLst/>
              <a:cxnLst/>
              <a:rect l="l" t="t" r="r" b="b"/>
              <a:pathLst>
                <a:path w="2387199" h="1648909">
                  <a:moveTo>
                    <a:pt x="0" y="0"/>
                  </a:moveTo>
                  <a:lnTo>
                    <a:pt x="2387199" y="0"/>
                  </a:lnTo>
                  <a:lnTo>
                    <a:pt x="2387199" y="1648909"/>
                  </a:lnTo>
                  <a:lnTo>
                    <a:pt x="0" y="1648909"/>
                  </a:lnTo>
                  <a:close/>
                </a:path>
              </a:pathLst>
            </a:custGeom>
            <a:solidFill>
              <a:srgbClr val="FFDE59"/>
            </a:solidFill>
          </p:spPr>
        </p:sp>
      </p:grpSp>
      <p:grpSp>
        <p:nvGrpSpPr>
          <p:cNvPr id="10" name="Group 10"/>
          <p:cNvGrpSpPr/>
          <p:nvPr/>
        </p:nvGrpSpPr>
        <p:grpSpPr>
          <a:xfrm>
            <a:off x="450329" y="3930495"/>
            <a:ext cx="3554662" cy="2455310"/>
            <a:chOff x="0" y="0"/>
            <a:chExt cx="2387199" cy="1648909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2387199" cy="1648909"/>
            </a:xfrm>
            <a:custGeom>
              <a:avLst/>
              <a:gdLst/>
              <a:ahLst/>
              <a:cxnLst/>
              <a:rect l="l" t="t" r="r" b="b"/>
              <a:pathLst>
                <a:path w="2387199" h="1648909">
                  <a:moveTo>
                    <a:pt x="0" y="0"/>
                  </a:moveTo>
                  <a:lnTo>
                    <a:pt x="2387199" y="0"/>
                  </a:lnTo>
                  <a:lnTo>
                    <a:pt x="2387199" y="1648909"/>
                  </a:lnTo>
                  <a:lnTo>
                    <a:pt x="0" y="1648909"/>
                  </a:lnTo>
                  <a:close/>
                </a:path>
              </a:pathLst>
            </a:custGeom>
            <a:solidFill>
              <a:srgbClr val="0CC0DF"/>
            </a:solidFill>
          </p:spPr>
        </p:sp>
      </p:grpSp>
      <p:sp>
        <p:nvSpPr>
          <p:cNvPr id="12" name="AutoShape 12"/>
          <p:cNvSpPr/>
          <p:nvPr/>
        </p:nvSpPr>
        <p:spPr>
          <a:xfrm>
            <a:off x="450329" y="1243801"/>
            <a:ext cx="3554662" cy="2438363"/>
          </a:xfrm>
          <a:prstGeom prst="rect">
            <a:avLst/>
          </a:prstGeom>
          <a:solidFill>
            <a:srgbClr val="CB6CE6">
              <a:alpha val="34902"/>
            </a:srgbClr>
          </a:solidFill>
        </p:spPr>
      </p:sp>
      <p:sp>
        <p:nvSpPr>
          <p:cNvPr id="13" name="Freeform 13"/>
          <p:cNvSpPr/>
          <p:nvPr/>
        </p:nvSpPr>
        <p:spPr>
          <a:xfrm>
            <a:off x="1582648" y="1379838"/>
            <a:ext cx="1290025" cy="1290025"/>
          </a:xfrm>
          <a:custGeom>
            <a:avLst/>
            <a:gdLst/>
            <a:ahLst/>
            <a:cxnLst/>
            <a:rect l="l" t="t" r="r" b="b"/>
            <a:pathLst>
              <a:path w="1935037" h="1935037">
                <a:moveTo>
                  <a:pt x="0" y="0"/>
                </a:moveTo>
                <a:lnTo>
                  <a:pt x="1935037" y="0"/>
                </a:lnTo>
                <a:lnTo>
                  <a:pt x="1935037" y="1935037"/>
                </a:lnTo>
                <a:lnTo>
                  <a:pt x="0" y="1935037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4" name="Freeform 14"/>
          <p:cNvSpPr/>
          <p:nvPr/>
        </p:nvSpPr>
        <p:spPr>
          <a:xfrm>
            <a:off x="5400945" y="1379838"/>
            <a:ext cx="1283407" cy="1312947"/>
          </a:xfrm>
          <a:custGeom>
            <a:avLst/>
            <a:gdLst/>
            <a:ahLst/>
            <a:cxnLst/>
            <a:rect l="l" t="t" r="r" b="b"/>
            <a:pathLst>
              <a:path w="1925110" h="1969421">
                <a:moveTo>
                  <a:pt x="0" y="0"/>
                </a:moveTo>
                <a:lnTo>
                  <a:pt x="1925109" y="0"/>
                </a:lnTo>
                <a:lnTo>
                  <a:pt x="1925109" y="1969421"/>
                </a:lnTo>
                <a:lnTo>
                  <a:pt x="0" y="1969421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15"/>
          <p:cNvSpPr/>
          <p:nvPr/>
        </p:nvSpPr>
        <p:spPr>
          <a:xfrm>
            <a:off x="9125816" y="1379838"/>
            <a:ext cx="1506970" cy="1312947"/>
          </a:xfrm>
          <a:custGeom>
            <a:avLst/>
            <a:gdLst/>
            <a:ahLst/>
            <a:cxnLst/>
            <a:rect l="l" t="t" r="r" b="b"/>
            <a:pathLst>
              <a:path w="2260455" h="1969421">
                <a:moveTo>
                  <a:pt x="0" y="0"/>
                </a:moveTo>
                <a:lnTo>
                  <a:pt x="2260455" y="0"/>
                </a:lnTo>
                <a:lnTo>
                  <a:pt x="2260455" y="1969421"/>
                </a:lnTo>
                <a:lnTo>
                  <a:pt x="0" y="196942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16" name="Freeform 16"/>
          <p:cNvSpPr/>
          <p:nvPr/>
        </p:nvSpPr>
        <p:spPr>
          <a:xfrm>
            <a:off x="1198346" y="4147193"/>
            <a:ext cx="2058628" cy="1175991"/>
          </a:xfrm>
          <a:custGeom>
            <a:avLst/>
            <a:gdLst/>
            <a:ahLst/>
            <a:cxnLst/>
            <a:rect l="l" t="t" r="r" b="b"/>
            <a:pathLst>
              <a:path w="3087942" h="1763987">
                <a:moveTo>
                  <a:pt x="0" y="0"/>
                </a:moveTo>
                <a:lnTo>
                  <a:pt x="3087942" y="0"/>
                </a:lnTo>
                <a:lnTo>
                  <a:pt x="3087942" y="1763987"/>
                </a:lnTo>
                <a:lnTo>
                  <a:pt x="0" y="1763987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</p:sp>
      <p:sp>
        <p:nvSpPr>
          <p:cNvPr id="17" name="Freeform 17"/>
          <p:cNvSpPr/>
          <p:nvPr/>
        </p:nvSpPr>
        <p:spPr>
          <a:xfrm>
            <a:off x="5337414" y="4147193"/>
            <a:ext cx="1410469" cy="1166843"/>
          </a:xfrm>
          <a:custGeom>
            <a:avLst/>
            <a:gdLst/>
            <a:ahLst/>
            <a:cxnLst/>
            <a:rect l="l" t="t" r="r" b="b"/>
            <a:pathLst>
              <a:path w="2115703" h="1750264">
                <a:moveTo>
                  <a:pt x="0" y="0"/>
                </a:moveTo>
                <a:lnTo>
                  <a:pt x="2115703" y="0"/>
                </a:lnTo>
                <a:lnTo>
                  <a:pt x="2115703" y="1750264"/>
                </a:lnTo>
                <a:lnTo>
                  <a:pt x="0" y="1750264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a:blipFill>
        </p:spPr>
      </p:sp>
      <p:sp>
        <p:nvSpPr>
          <p:cNvPr id="18" name="Freeform 18"/>
          <p:cNvSpPr/>
          <p:nvPr/>
        </p:nvSpPr>
        <p:spPr>
          <a:xfrm>
            <a:off x="9243958" y="4095272"/>
            <a:ext cx="1270685" cy="1270685"/>
          </a:xfrm>
          <a:custGeom>
            <a:avLst/>
            <a:gdLst/>
            <a:ahLst/>
            <a:cxnLst/>
            <a:rect l="l" t="t" r="r" b="b"/>
            <a:pathLst>
              <a:path w="1906027" h="1906027">
                <a:moveTo>
                  <a:pt x="0" y="0"/>
                </a:moveTo>
                <a:lnTo>
                  <a:pt x="1906027" y="0"/>
                </a:lnTo>
                <a:lnTo>
                  <a:pt x="1906027" y="1906026"/>
                </a:lnTo>
                <a:lnTo>
                  <a:pt x="0" y="1906026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sp>
        <p:nvSpPr>
          <p:cNvPr id="19" name="TextBox 19"/>
          <p:cNvSpPr txBox="1"/>
          <p:nvPr/>
        </p:nvSpPr>
        <p:spPr>
          <a:xfrm>
            <a:off x="225165" y="229903"/>
            <a:ext cx="11741671" cy="82073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99"/>
              </a:lnSpc>
            </a:pPr>
            <a:r>
              <a:rPr lang="en-US" sz="3200" b="1">
                <a:solidFill>
                  <a:srgbClr val="373737"/>
                </a:solidFill>
                <a:latin typeface="Heading Now 71-78 Bold"/>
              </a:rPr>
              <a:t>By May 2024, </a:t>
            </a:r>
            <a:r>
              <a:rPr lang="en-US" sz="3200" b="1" u="sng">
                <a:solidFill>
                  <a:srgbClr val="373737"/>
                </a:solidFill>
                <a:latin typeface="Heading Now 71-78 Bold"/>
              </a:rPr>
              <a:t>&gt;</a:t>
            </a:r>
            <a:r>
              <a:rPr lang="en-US" sz="3200" b="1">
                <a:solidFill>
                  <a:srgbClr val="373737"/>
                </a:solidFill>
                <a:latin typeface="Heading Now 71-78 Bold"/>
              </a:rPr>
              <a:t> 70% of participating hospitals will have implemented each key strategy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394808" y="2840117"/>
            <a:ext cx="3665707" cy="769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Optimize race and ethnicity data collection and review stratified maternal quality data ​​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556221" y="5469234"/>
            <a:ext cx="3347511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Engage patients and community members for quality improvement input ​​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4368893" y="5453736"/>
            <a:ext cx="3347511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Implicit bias &amp; respectful care training for providers, nurses, other staff​​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8109737" y="5505656"/>
            <a:ext cx="3516656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Share respectful care practices and survey patients on their care experience​​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8100434" y="2834047"/>
            <a:ext cx="3535263" cy="7730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Standardize postpartum safety education and schedule early postpartum visit​​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4280017" y="2834047"/>
            <a:ext cx="3540327" cy="7730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999"/>
              </a:lnSpc>
              <a:spcBef>
                <a:spcPct val="0"/>
              </a:spcBef>
            </a:pPr>
            <a:r>
              <a:rPr lang="en-US" b="1">
                <a:solidFill>
                  <a:srgbClr val="373737"/>
                </a:solidFill>
                <a:latin typeface="Heading Now 71-78"/>
              </a:rPr>
              <a:t>Screen all patients for social determinants of health and link to needed services​​</a:t>
            </a:r>
          </a:p>
        </p:txBody>
      </p:sp>
    </p:spTree>
    <p:extLst>
      <p:ext uri="{BB962C8B-B14F-4D97-AF65-F5344CB8AC3E}">
        <p14:creationId xmlns:p14="http://schemas.microsoft.com/office/powerpoint/2010/main" val="24624342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9FD7A-7B92-EC42-6554-FA310B6714B1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Network-Specific BE Data Submiss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19A524-96F5-A0B2-CACE-F9567471AB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10972800" cy="2800757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600" b="1">
                <a:ea typeface="Lato"/>
                <a:cs typeface="Lato"/>
              </a:rPr>
              <a:t>BE Monthly Hospital Measures Data:</a:t>
            </a:r>
          </a:p>
          <a:p>
            <a:r>
              <a:rPr lang="en-US" sz="2600">
                <a:ea typeface="Lato"/>
                <a:cs typeface="Lato"/>
              </a:rPr>
              <a:t> 10 birthing hospitals in St. Francis Network, 4 have a BE Team</a:t>
            </a:r>
          </a:p>
          <a:p>
            <a:r>
              <a:rPr lang="en-US" sz="2600" b="1">
                <a:ea typeface="Lato"/>
                <a:cs typeface="Lato"/>
              </a:rPr>
              <a:t>2 out of 4 teams have submitted complete BE Hospital Measures data.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2200" b="1">
                <a:ea typeface="Lato"/>
                <a:cs typeface="Lato"/>
              </a:rPr>
              <a:t>Teams missing some months of data from 2023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sz="2200" b="1">
                <a:ea typeface="Lato"/>
                <a:cs typeface="Lato"/>
              </a:rPr>
              <a:t>Please check </a:t>
            </a:r>
            <a:r>
              <a:rPr lang="en-US" sz="2200" b="1" err="1">
                <a:ea typeface="Lato"/>
                <a:cs typeface="Lato"/>
              </a:rPr>
              <a:t>REDCap</a:t>
            </a:r>
            <a:r>
              <a:rPr lang="en-US" sz="2200" b="1">
                <a:ea typeface="Lato"/>
                <a:cs typeface="Lato"/>
              </a:rPr>
              <a:t> to determine the months you are missing! Email </a:t>
            </a:r>
            <a:r>
              <a:rPr lang="en-US" sz="2200" b="1">
                <a:ea typeface="Lato"/>
                <a:cs typeface="Lato"/>
                <a:hlinkClick r:id="rId3"/>
              </a:rPr>
              <a:t>aleena.surenian@northwestern.edu</a:t>
            </a:r>
            <a:r>
              <a:rPr lang="en-US" sz="2200" b="1">
                <a:ea typeface="Lato"/>
                <a:cs typeface="Lato"/>
              </a:rPr>
              <a:t> with ques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9C54BC-278A-0E1A-2DAF-6EEB0C2A25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E7B47-9B20-C8E9-421F-FC9054144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B118A30-D372-1791-AC9D-F862CEE17DE5}"/>
              </a:ext>
            </a:extLst>
          </p:cNvPr>
          <p:cNvSpPr/>
          <p:nvPr/>
        </p:nvSpPr>
        <p:spPr>
          <a:xfrm>
            <a:off x="604685" y="5015348"/>
            <a:ext cx="10977112" cy="108682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chemeClr val="accent1"/>
                </a:solidFill>
                <a:cs typeface="Calibri"/>
              </a:rPr>
              <a:t>How can we continue to support you to submit monthly BE hospital measures data? </a:t>
            </a:r>
            <a:endParaRPr lang="en-US">
              <a:solidFill>
                <a:schemeClr val="accent1"/>
              </a:solidFill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9255822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7" name="Picture 5" descr="Woman holding a baby">
            <a:extLst>
              <a:ext uri="{FF2B5EF4-FFF2-40B4-BE49-F238E27FC236}">
                <a16:creationId xmlns:a16="http://schemas.microsoft.com/office/drawing/2014/main" id="{30ACF479-563C-3DCC-F398-699737694B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541"/>
          <a:stretch/>
        </p:blipFill>
        <p:spPr>
          <a:xfrm>
            <a:off x="1556310" y="1282"/>
            <a:ext cx="11228697" cy="685671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1336C-D1A5-583D-8FB8-DFFF08531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7227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2DAB3-88D4-4FD5-CF7F-7F0D860A7D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658D12-A7C2-9B51-1AE1-ED8D2228DFBB}"/>
              </a:ext>
            </a:extLst>
          </p:cNvPr>
          <p:cNvSpPr txBox="1"/>
          <p:nvPr/>
        </p:nvSpPr>
        <p:spPr>
          <a:xfrm>
            <a:off x="153095" y="109609"/>
            <a:ext cx="5617882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b="1">
                <a:solidFill>
                  <a:srgbClr val="000000"/>
                </a:solidFill>
                <a:cs typeface="Calibri"/>
              </a:rPr>
              <a:t>Building the infrastructure to sustain Birth Equity work</a:t>
            </a:r>
            <a:endParaRPr lang="en-US" b="1">
              <a:solidFill>
                <a:srgbClr val="000000"/>
              </a:solidFill>
              <a:cs typeface="Calibri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323087E-70BA-4611-4040-A048A2775A8F}"/>
              </a:ext>
            </a:extLst>
          </p:cNvPr>
          <p:cNvSpPr/>
          <p:nvPr/>
        </p:nvSpPr>
        <p:spPr>
          <a:xfrm>
            <a:off x="61968" y="1245192"/>
            <a:ext cx="6686734" cy="5611526"/>
          </a:xfrm>
          <a:prstGeom prst="roundRect">
            <a:avLst/>
          </a:prstGeom>
          <a:solidFill>
            <a:schemeClr val="bg2"/>
          </a:solidFill>
          <a:ln w="28575">
            <a:solidFill>
              <a:srgbClr val="0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600" b="1" i="1">
                <a:solidFill>
                  <a:srgbClr val="000000"/>
                </a:solidFill>
                <a:cs typeface="Calibri"/>
              </a:rPr>
              <a:t>2024 BE Goals:</a:t>
            </a:r>
          </a:p>
          <a:p>
            <a:pPr marL="457200" indent="-457200">
              <a:buAutoNum type="arabicPeriod"/>
            </a:pPr>
            <a:r>
              <a:rPr lang="en-US" sz="2400" b="1">
                <a:solidFill>
                  <a:srgbClr val="000000"/>
                </a:solidFill>
                <a:cs typeface="Calibri"/>
              </a:rPr>
              <a:t>Continue to build partnerships with patients and community</a:t>
            </a:r>
            <a:endParaRPr lang="en-US" sz="2400" b="1">
              <a:solidFill>
                <a:srgbClr val="000000"/>
              </a:solidFill>
              <a:ea typeface="Calibri"/>
              <a:cs typeface="Calibri"/>
            </a:endParaRPr>
          </a:p>
          <a:p>
            <a:pPr marL="914400" lvl="1" indent="-457200"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cs typeface="Calibri"/>
              </a:rPr>
              <a:t>Host Respectful Care Breakfasts</a:t>
            </a:r>
            <a:endParaRPr lang="en-US" sz="2400">
              <a:cs typeface="Calibri" panose="020F0502020204030204"/>
            </a:endParaRPr>
          </a:p>
          <a:p>
            <a:pPr marL="914400" lvl="1" indent="-457200"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cs typeface="Calibri"/>
              </a:rPr>
              <a:t>Identify and engage with Patient Partners</a:t>
            </a:r>
            <a:endParaRPr lang="en-US" sz="2400">
              <a:solidFill>
                <a:srgbClr val="000000"/>
              </a:solidFill>
              <a:ea typeface="Calibri"/>
              <a:cs typeface="Calibri"/>
            </a:endParaRPr>
          </a:p>
          <a:p>
            <a:pPr marL="914400" lvl="1" indent="-457200"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cs typeface="Calibri"/>
              </a:rPr>
              <a:t>Build relationships with community partners to improve patient linkage</a:t>
            </a:r>
            <a:endParaRPr lang="en-US" sz="2400">
              <a:solidFill>
                <a:srgbClr val="000000"/>
              </a:solidFill>
              <a:ea typeface="Calibri"/>
              <a:cs typeface="Calibri"/>
            </a:endParaRPr>
          </a:p>
          <a:p>
            <a:pPr marL="914400" lvl="1" indent="-457200"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cs typeface="Calibri"/>
              </a:rPr>
              <a:t>Expand Birth Equity strategies to outpatient sites</a:t>
            </a:r>
          </a:p>
          <a:p>
            <a:pPr marL="457200" indent="-457200">
              <a:buAutoNum type="arabicPeriod"/>
            </a:pPr>
            <a:r>
              <a:rPr lang="en-US" sz="2400" b="1">
                <a:solidFill>
                  <a:srgbClr val="000000"/>
                </a:solidFill>
                <a:cs typeface="Calibri"/>
              </a:rPr>
              <a:t>Increase % PREM survey completion to obtain patient feedback &amp; continue to improve respectful care</a:t>
            </a:r>
          </a:p>
          <a:p>
            <a:pPr marL="457200" indent="-457200">
              <a:buAutoNum type="arabicPeriod"/>
            </a:pPr>
            <a:r>
              <a:rPr lang="en-US" sz="2400" b="1">
                <a:solidFill>
                  <a:srgbClr val="000000"/>
                </a:solidFill>
                <a:cs typeface="Calibri"/>
              </a:rPr>
              <a:t>Stratify data &amp; take action on disparities</a:t>
            </a:r>
          </a:p>
        </p:txBody>
      </p:sp>
    </p:spTree>
    <p:extLst>
      <p:ext uri="{BB962C8B-B14F-4D97-AF65-F5344CB8AC3E}">
        <p14:creationId xmlns:p14="http://schemas.microsoft.com/office/powerpoint/2010/main" val="26479606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9FD7A-7B92-EC42-6554-FA310B6714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166" y="120710"/>
            <a:ext cx="7838536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Data for PREM, RCP and Patient/Community Engagement 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19A524-96F5-A0B2-CACE-F9567471AB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223" y="1308041"/>
            <a:ext cx="10972800" cy="469639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200" b="1">
                <a:ea typeface="Lato"/>
                <a:cs typeface="Lato"/>
              </a:rPr>
              <a:t>Structure Measures: </a:t>
            </a:r>
          </a:p>
          <a:p>
            <a:r>
              <a:rPr lang="en-US" sz="2200">
                <a:ea typeface="Lato"/>
                <a:cs typeface="Lato"/>
              </a:rPr>
              <a:t>To date,</a:t>
            </a:r>
            <a:r>
              <a:rPr lang="en-US" sz="2200" b="1">
                <a:ea typeface="Lato"/>
                <a:cs typeface="Lato"/>
              </a:rPr>
              <a:t> 4 / 4 (100%)</a:t>
            </a:r>
            <a:r>
              <a:rPr lang="en-US" sz="2200">
                <a:ea typeface="Lato"/>
                <a:cs typeface="Lato"/>
              </a:rPr>
              <a:t> BE teams in St. Francis network have </a:t>
            </a:r>
            <a:r>
              <a:rPr lang="en-US" sz="2200" b="1">
                <a:ea typeface="Lato"/>
                <a:cs typeface="Lato"/>
              </a:rPr>
              <a:t>Respectful Care Practices structure measure in place</a:t>
            </a:r>
            <a:r>
              <a:rPr lang="en-US" sz="2200">
                <a:ea typeface="Lato"/>
                <a:cs typeface="Lato"/>
              </a:rPr>
              <a:t>.</a:t>
            </a:r>
          </a:p>
          <a:p>
            <a:r>
              <a:rPr lang="en-US" sz="2200">
                <a:ea typeface="Lato"/>
                <a:cs typeface="Lato"/>
              </a:rPr>
              <a:t>To date,</a:t>
            </a:r>
            <a:r>
              <a:rPr lang="en-US" sz="2200" b="1">
                <a:ea typeface="Lato"/>
                <a:cs typeface="Lato"/>
              </a:rPr>
              <a:t> 0 /</a:t>
            </a:r>
            <a:r>
              <a:rPr lang="en-US" sz="2200" b="1">
                <a:ea typeface="Lato"/>
                <a:cs typeface="Calibri"/>
              </a:rPr>
              <a:t> 4 (0%)</a:t>
            </a:r>
            <a:r>
              <a:rPr lang="en-US" sz="2200">
                <a:ea typeface="Lato"/>
                <a:cs typeface="Lato"/>
              </a:rPr>
              <a:t> BE teams in St. Francis network have </a:t>
            </a:r>
            <a:r>
              <a:rPr lang="en-US" sz="2200" b="1">
                <a:ea typeface="Lato"/>
                <a:cs typeface="Lato"/>
              </a:rPr>
              <a:t>Patient &amp; Community Engagement structure measure in place.</a:t>
            </a:r>
          </a:p>
          <a:p>
            <a:pPr marL="0" indent="0">
              <a:buNone/>
            </a:pPr>
            <a:r>
              <a:rPr lang="en-US" sz="2200" b="1">
                <a:ea typeface="Lato"/>
                <a:cs typeface="Lato"/>
              </a:rPr>
              <a:t>PREM Data:</a:t>
            </a:r>
            <a:endParaRPr lang="en-US" sz="2200"/>
          </a:p>
          <a:p>
            <a:r>
              <a:rPr lang="en-US" sz="2200">
                <a:ea typeface="Lato"/>
                <a:cs typeface="Lato"/>
              </a:rPr>
              <a:t>4 BE teams in St. Francis network have </a:t>
            </a:r>
            <a:r>
              <a:rPr lang="en-US" sz="2200" b="1">
                <a:ea typeface="Lato"/>
                <a:cs typeface="Lato"/>
              </a:rPr>
              <a:t>449 total PREM survey responses </a:t>
            </a:r>
          </a:p>
          <a:p>
            <a:pPr marL="457200" lvl="1" indent="0">
              <a:buNone/>
            </a:pPr>
            <a:r>
              <a:rPr lang="en-US" sz="2200">
                <a:ea typeface="Lato"/>
                <a:cs typeface="Lato"/>
              </a:rPr>
              <a:t>(5.3% of total PREM responses from the entire state)</a:t>
            </a:r>
            <a:endParaRPr lang="en-US" sz="2200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9C54BC-278A-0E1A-2DAF-6EEB0C2A25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E7B47-9B20-C8E9-421F-FC9054144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0DDD91A-F49B-E7FA-F65F-DEF38C972D7B}"/>
              </a:ext>
            </a:extLst>
          </p:cNvPr>
          <p:cNvSpPr/>
          <p:nvPr/>
        </p:nvSpPr>
        <p:spPr>
          <a:xfrm>
            <a:off x="342845" y="5424740"/>
            <a:ext cx="11644568" cy="129725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solidFill>
                  <a:schemeClr val="accent1"/>
                </a:solidFill>
                <a:cs typeface="Calibri"/>
              </a:rPr>
              <a:t>How can we support you to move the patient/community engagement structure measure in place and/or continue increasing PREM survey responses?</a:t>
            </a:r>
            <a:r>
              <a:rPr lang="en-US" sz="2800">
                <a:cs typeface="Calibri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6824389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US" sz="4400">
                <a:latin typeface="Arial"/>
                <a:ea typeface="Lato Medium"/>
                <a:cs typeface="Arial"/>
              </a:rPr>
              <a:t>How will your team identify and onboard a Patient Partner in 2024?</a:t>
            </a:r>
            <a:endParaRPr lang="en-US" sz="440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/>
          </p:cNvSpPr>
          <p:nvPr/>
        </p:nvSpPr>
        <p:spPr>
          <a:xfrm>
            <a:off x="7808630" y="5978320"/>
            <a:ext cx="1871508" cy="249101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defTabSz="621792">
              <a:spcAft>
                <a:spcPts val="600"/>
              </a:spcAft>
            </a:pPr>
            <a:endParaRPr lang="en-US" sz="1200"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C2BB3A3-ADE2-0C44-760E-980744EA4419}"/>
              </a:ext>
            </a:extLst>
          </p:cNvPr>
          <p:cNvSpPr txBox="1"/>
          <p:nvPr/>
        </p:nvSpPr>
        <p:spPr>
          <a:xfrm>
            <a:off x="2385125" y="3017519"/>
            <a:ext cx="7103994" cy="42716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621792">
              <a:spcAft>
                <a:spcPts val="600"/>
              </a:spcAft>
            </a:pPr>
            <a:r>
              <a:rPr lang="en-US" sz="2176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Birth Equity Teams have already identified a Patient Partner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64E342-A98E-4E6A-9ABE-E187A502C24F}"/>
              </a:ext>
            </a:extLst>
          </p:cNvPr>
          <p:cNvSpPr txBox="1"/>
          <p:nvPr/>
        </p:nvSpPr>
        <p:spPr>
          <a:xfrm>
            <a:off x="2092968" y="3692750"/>
            <a:ext cx="4327667" cy="252825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defTabSz="621792">
              <a:spcAft>
                <a:spcPts val="600"/>
              </a:spcAft>
            </a:pPr>
            <a:r>
              <a:rPr lang="en-US" sz="1904" u="sng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thods to Identify Patient Partner:</a:t>
            </a:r>
            <a:endParaRPr lang="en-US" sz="1904" u="sng" kern="1200">
              <a:solidFill>
                <a:schemeClr val="tx1"/>
              </a:solidFill>
              <a:latin typeface="+mn-lt"/>
              <a:ea typeface="+mn-ea"/>
              <a:cs typeface="Calibri"/>
            </a:endParaRPr>
          </a:p>
          <a:p>
            <a:pPr marL="194310" indent="-194310" defTabSz="6217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4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hysician or CNM Referral</a:t>
            </a:r>
            <a:endParaRPr lang="en-US" sz="1904" kern="1200">
              <a:solidFill>
                <a:schemeClr val="tx1"/>
              </a:solidFill>
              <a:latin typeface="+mn-lt"/>
              <a:ea typeface="+mn-ea"/>
              <a:cs typeface="Calibri"/>
            </a:endParaRPr>
          </a:p>
          <a:p>
            <a:pPr marL="194310" indent="-194310" defTabSz="6217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4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tended Respectful Care Breakfast</a:t>
            </a:r>
            <a:endParaRPr lang="en-US" sz="1904" kern="1200">
              <a:solidFill>
                <a:schemeClr val="tx1"/>
              </a:solidFill>
              <a:latin typeface="+mn-lt"/>
              <a:ea typeface="+mn-ea"/>
              <a:cs typeface="Calibri"/>
            </a:endParaRPr>
          </a:p>
          <a:p>
            <a:pPr marL="194310" indent="-194310" defTabSz="6217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4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mber of Hospital Patient Advisory Committee</a:t>
            </a:r>
            <a:endParaRPr lang="en-US" sz="1904" kern="1200">
              <a:solidFill>
                <a:schemeClr val="tx1"/>
              </a:solidFill>
              <a:latin typeface="+mn-lt"/>
              <a:ea typeface="+mn-ea"/>
              <a:cs typeface="Calibri"/>
            </a:endParaRPr>
          </a:p>
          <a:p>
            <a:pPr marL="194310" indent="-194310" defTabSz="6217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4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er Patient</a:t>
            </a:r>
          </a:p>
          <a:p>
            <a:pPr marL="194310" indent="-194310" defTabSz="62179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904" kern="1200">
                <a:solidFill>
                  <a:schemeClr val="tx1"/>
                </a:solidFill>
                <a:latin typeface="+mn-lt"/>
                <a:ea typeface="+mn-ea"/>
                <a:cs typeface="Calibri"/>
              </a:rPr>
              <a:t>Parent with a baby in the NICU</a:t>
            </a:r>
            <a:endParaRPr lang="en-US" sz="2800">
              <a:ea typeface="Calibri"/>
              <a:cs typeface="Calibri"/>
            </a:endParaRPr>
          </a:p>
        </p:txBody>
      </p:sp>
      <p:pic>
        <p:nvPicPr>
          <p:cNvPr id="9" name="Picture 8" descr="Healthcare colleagues meeting">
            <a:extLst>
              <a:ext uri="{FF2B5EF4-FFF2-40B4-BE49-F238E27FC236}">
                <a16:creationId xmlns:a16="http://schemas.microsoft.com/office/drawing/2014/main" id="{B7680CAF-7645-BBD5-9950-24CE6E641F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8592" y="3797568"/>
            <a:ext cx="3968191" cy="2305641"/>
          </a:xfrm>
          <a:prstGeom prst="rect">
            <a:avLst/>
          </a:prstGeom>
        </p:spPr>
      </p:pic>
      <p:pic>
        <p:nvPicPr>
          <p:cNvPr id="10" name="Picture 9" descr="A picture containing person, holding, standing&#10;&#10;Description automatically generated">
            <a:extLst>
              <a:ext uri="{FF2B5EF4-FFF2-40B4-BE49-F238E27FC236}">
                <a16:creationId xmlns:a16="http://schemas.microsoft.com/office/drawing/2014/main" id="{87E1CB06-D4B6-034A-6E16-EE92C2DF95C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5059" y="4364681"/>
            <a:ext cx="716409" cy="198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50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9" name="Google Shape;3779;p410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0" name="Google Shape;3780;p410"/>
          <p:cNvSpPr txBox="1">
            <a:spLocks noGrp="1"/>
          </p:cNvSpPr>
          <p:nvPr>
            <p:ph type="title"/>
          </p:nvPr>
        </p:nvSpPr>
        <p:spPr>
          <a:xfrm>
            <a:off x="625703" y="387671"/>
            <a:ext cx="5144979" cy="1956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Calibri"/>
                <a:ea typeface="Lato Medium"/>
                <a:cs typeface="Calibri"/>
              </a:rPr>
              <a:t>Illinois Perinatal Quality Collaborative (ILPQC)</a:t>
            </a:r>
            <a:r>
              <a:rPr lang="en-US" b="1">
                <a:latin typeface="Calibri"/>
                <a:ea typeface="Lato Medium"/>
                <a:cs typeface="Calibri"/>
              </a:rPr>
              <a:t> </a:t>
            </a:r>
            <a:endParaRPr lang="en-US">
              <a:ea typeface="Lato Medium"/>
            </a:endParaRPr>
          </a:p>
        </p:txBody>
      </p:sp>
      <p:sp>
        <p:nvSpPr>
          <p:cNvPr id="3781" name="Google Shape;3781;p410"/>
          <p:cNvSpPr/>
          <p:nvPr/>
        </p:nvSpPr>
        <p:spPr>
          <a:xfrm>
            <a:off x="640080" y="2586994"/>
            <a:ext cx="3474720" cy="18288"/>
          </a:xfrm>
          <a:custGeom>
            <a:avLst/>
            <a:gdLst/>
            <a:ahLst/>
            <a:cxnLst/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82" name="Google Shape;3782;p410"/>
          <p:cNvSpPr txBox="1">
            <a:spLocks noGrp="1"/>
          </p:cNvSpPr>
          <p:nvPr>
            <p:ph type="body" idx="1"/>
          </p:nvPr>
        </p:nvSpPr>
        <p:spPr>
          <a:xfrm>
            <a:off x="625969" y="2802344"/>
            <a:ext cx="4257700" cy="3913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>
                <a:latin typeface="Calibri"/>
                <a:ea typeface="Calibri"/>
                <a:cs typeface="Calibri"/>
                <a:sym typeface="Calibri"/>
              </a:rPr>
              <a:t>Statewide network of hospital teams, perinatal clinicians, patients, community partners, and public health leaders.</a:t>
            </a:r>
            <a:endParaRPr sz="22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endParaRPr sz="220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 b="1">
                <a:latin typeface="Calibri"/>
                <a:ea typeface="Calibri"/>
                <a:cs typeface="Calibri"/>
                <a:sym typeface="Calibri"/>
              </a:rPr>
              <a:t>Committed to equitably improving outcomes and reducing disparities for birthing people and newborns in Illinois.</a:t>
            </a:r>
          </a:p>
          <a:p>
            <a:pPr marL="228600" lvl="0" indent="-101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58466"/>
              </a:buClr>
              <a:buSzPts val="2000"/>
              <a:buNone/>
            </a:pPr>
            <a:endParaRPr sz="2000">
              <a:latin typeface="Calibri"/>
              <a:ea typeface="Calibri"/>
              <a:cs typeface="Calibri"/>
              <a:sym typeface="Calibri"/>
            </a:endParaRPr>
          </a:p>
          <a:p>
            <a:pPr marL="228600" lvl="0" indent="-101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58466"/>
              </a:buClr>
              <a:buSzPts val="2000"/>
              <a:buNone/>
            </a:pPr>
            <a:endParaRPr sz="200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83" name="Google Shape;3783;p410" descr="A group of people posing for a photo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101"/>
          <a:stretch/>
        </p:blipFill>
        <p:spPr>
          <a:xfrm>
            <a:off x="5311702" y="10"/>
            <a:ext cx="8961556" cy="6872070"/>
          </a:xfrm>
          <a:custGeom>
            <a:avLst/>
            <a:gdLst/>
            <a:ahLst/>
            <a:cxnLst/>
            <a:rect l="l" t="t" r="r" b="b"/>
            <a:pathLst>
              <a:path w="6878775" h="6858000" extrusionOk="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solidFill>
            <a:srgbClr val="ECECEC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9034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1925E-6270-4A5A-68D8-D4C1B437C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0246"/>
            <a:ext cx="6683829" cy="1347334"/>
          </a:xfrm>
        </p:spPr>
        <p:txBody>
          <a:bodyPr/>
          <a:lstStyle/>
          <a:p>
            <a:r>
              <a:rPr lang="en-US"/>
              <a:t>Momma's Voices </a:t>
            </a:r>
            <a:br>
              <a:rPr lang="en-US"/>
            </a:br>
            <a:r>
              <a:rPr lang="en-US"/>
              <a:t>Patient Family Partner Trai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F3B87-1F94-1012-A7BD-DDE5CD9D49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97025"/>
            <a:ext cx="10972800" cy="4351338"/>
          </a:xfrm>
        </p:spPr>
        <p:txBody>
          <a:bodyPr/>
          <a:lstStyle/>
          <a:p>
            <a:r>
              <a:rPr lang="en-US" sz="2800"/>
              <a:t>FREE for the first 20 Patient Partners identified by hospital teams  ($450 value)!</a:t>
            </a:r>
          </a:p>
          <a:p>
            <a:r>
              <a:rPr lang="en-US" sz="2800"/>
              <a:t>Please share the name and contact information of your Patient Partner with ILPQC to get access to this free train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0258B5-5AC8-4054-E859-CA8D96E840B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 lang="en-US"/>
          </a:p>
        </p:txBody>
      </p:sp>
      <p:pic>
        <p:nvPicPr>
          <p:cNvPr id="5" name="Picture 4" descr="A group of women sitting in chairs&#10;&#10;Description automatically generated">
            <a:extLst>
              <a:ext uri="{FF2B5EF4-FFF2-40B4-BE49-F238E27FC236}">
                <a16:creationId xmlns:a16="http://schemas.microsoft.com/office/drawing/2014/main" id="{DCCBF0D8-BA7D-4A51-FA95-0E8974F3501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7400" y="3676305"/>
            <a:ext cx="7859486" cy="3045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400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667110" y="342269"/>
            <a:ext cx="3755367" cy="5661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QI SPEAK UP Champion Training Announcement – April 12th &amp; 19th 2024!</a:t>
            </a:r>
            <a:br>
              <a:rPr lang="en-US"/>
            </a:br>
            <a:r>
              <a:rPr lang="en-US"/>
              <a:t/>
            </a:r>
            <a:br>
              <a:rPr lang="en-US"/>
            </a:br>
            <a:r>
              <a:rPr lang="en-US"/>
              <a:t>ILPQC sponsored FREE 2-day training</a:t>
            </a:r>
            <a:endParaRPr/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80902" y="49719"/>
            <a:ext cx="6645214" cy="66739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00E83-E0C0-A0D1-6B82-D6AB6297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57" y="320675"/>
            <a:ext cx="8242169" cy="1325563"/>
          </a:xfrm>
        </p:spPr>
        <p:txBody>
          <a:bodyPr/>
          <a:lstStyle/>
          <a:p>
            <a:r>
              <a:rPr lang="en-US"/>
              <a:t>Achieving Birth Equity QI Excellence Award by Face-to-Face Meeting May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0DED57-40FF-095C-C5DD-2B1DC27C5F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All data submitted</a:t>
            </a:r>
            <a:r>
              <a:rPr lang="en-US" b="0" i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7/7 key structure measures in place</a:t>
            </a:r>
            <a:r>
              <a:rPr lang="en-US" b="0" i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F497D"/>
                </a:solidFill>
                <a:latin typeface="Calibri" panose="020F0502020204030204" pitchFamily="34" charset="0"/>
              </a:rPr>
              <a:t>Achieve key BE goals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ovider, nurse, and staff education </a:t>
            </a:r>
            <a:r>
              <a:rPr lang="en-US" b="0" i="0" u="sng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 </a:t>
            </a:r>
            <a:r>
              <a:rPr lang="en-US" b="0" i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delivery admission screening </a:t>
            </a:r>
            <a:r>
              <a:rPr lang="en-US" b="0" i="0" u="sng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screen positive linkage to resources </a:t>
            </a:r>
            <a:r>
              <a:rPr lang="en-US" b="0" i="0" u="sng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EM completion rate </a:t>
            </a:r>
            <a:r>
              <a:rPr lang="en-US" b="0" i="0" u="sng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10%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48CD5-93AC-0FC1-73C4-D3FEF8C60AD0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sz="2800"/>
              <a:t>Reach out to Aleena &amp; Alana for a 1:1 QI support call if there are any measures you need support to achieve BE QI Excellence</a:t>
            </a:r>
          </a:p>
          <a:p>
            <a:r>
              <a:rPr lang="en-US" sz="2800"/>
              <a:t>We will reach out to teams who are still working on having all structure measures in place</a:t>
            </a:r>
          </a:p>
          <a:p>
            <a:r>
              <a:rPr lang="en-US" sz="2800"/>
              <a:t>Email info@ilpqc.or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A6727-0C3D-85DA-1EB3-1BC54F2BADF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369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709A7-5FE5-2422-4E45-C2CE24AAA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214647" cy="1325563"/>
          </a:xfrm>
        </p:spPr>
        <p:txBody>
          <a:bodyPr/>
          <a:lstStyle/>
          <a:p>
            <a:r>
              <a:rPr lang="en-US"/>
              <a:t>Moving Birth Equity to Sustain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1216B-8B7D-19B9-A407-82DACB78D3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t Face-to-Face meeting, we will confirm teams feel ready to start moving into sustainability</a:t>
            </a:r>
          </a:p>
          <a:p>
            <a:r>
              <a:rPr lang="en-US"/>
              <a:t>Starting June 2024, likely move to quarterly BE webinars</a:t>
            </a:r>
          </a:p>
          <a:p>
            <a:r>
              <a:rPr lang="en-US"/>
              <a:t>Teams will complete a BE Sustainability Plan</a:t>
            </a:r>
          </a:p>
          <a:p>
            <a:r>
              <a:rPr lang="en-US"/>
              <a:t>For sustainability, teams will have key Birth Equity strategies in place:</a:t>
            </a:r>
          </a:p>
          <a:p>
            <a:pPr lvl="1"/>
            <a:r>
              <a:rPr lang="en-US"/>
              <a:t>Achieve Birth Equity initiative aims </a:t>
            </a:r>
          </a:p>
          <a:p>
            <a:pPr lvl="1"/>
            <a:r>
              <a:rPr lang="en-US"/>
              <a:t>Patient partner on QI team</a:t>
            </a:r>
          </a:p>
          <a:p>
            <a:pPr lvl="1"/>
            <a:r>
              <a:rPr lang="en-US"/>
              <a:t>Respectful Care Breakfast</a:t>
            </a:r>
          </a:p>
          <a:p>
            <a:pPr lvl="1"/>
            <a:r>
              <a:rPr lang="en-US"/>
              <a:t>Process flows for linking patients to community doulas and home visiting programs &amp; sharing those resources/contacts with outpatient si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5F8A9-6AE1-5417-B3EC-C18B9C8489A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BA90C-5649-48AE-B68F-85A4B6957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Lato Medium"/>
                <a:cs typeface="Lato Medium"/>
              </a:rPr>
              <a:t>BE 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2A9ED-20FF-40E5-9793-79452C94F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2242" y="2776679"/>
            <a:ext cx="9844189" cy="352705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ea typeface="Lato"/>
                <a:cs typeface="Lato"/>
              </a:rPr>
              <a:t>How is planning for your Respectful Care Breakfasts going?</a:t>
            </a:r>
          </a:p>
          <a:p>
            <a:pPr>
              <a:lnSpc>
                <a:spcPct val="90000"/>
              </a:lnSpc>
            </a:pPr>
            <a:r>
              <a:rPr lang="en-US" sz="2800">
                <a:ea typeface="Lato"/>
                <a:cs typeface="Lato"/>
              </a:rPr>
              <a:t>How is recruiting and engaging a patient partner going?</a:t>
            </a:r>
          </a:p>
          <a:p>
            <a:pPr>
              <a:lnSpc>
                <a:spcPct val="90000"/>
              </a:lnSpc>
            </a:pPr>
            <a:r>
              <a:rPr lang="en-US" sz="2800">
                <a:ea typeface="Lato"/>
                <a:cs typeface="Lato"/>
              </a:rPr>
              <a:t>How are you engaging your clinical team members in </a:t>
            </a:r>
            <a:r>
              <a:rPr lang="en-US" sz="2800" b="1">
                <a:ea typeface="Lato"/>
                <a:cs typeface="Lato"/>
              </a:rPr>
              <a:t>active implementation of Respectful Care Practices and increasing PREM Survey completion</a:t>
            </a:r>
            <a:r>
              <a:rPr lang="en-US" sz="2800">
                <a:ea typeface="Lato"/>
                <a:cs typeface="Lato"/>
              </a:rPr>
              <a:t>?</a:t>
            </a:r>
          </a:p>
          <a:p>
            <a:pPr marL="0" indent="0">
              <a:lnSpc>
                <a:spcPct val="90000"/>
              </a:lnSpc>
              <a:buNone/>
            </a:pPr>
            <a:endParaRPr lang="en-US">
              <a:ea typeface="Lato"/>
              <a:cs typeface="Lato"/>
            </a:endParaRPr>
          </a:p>
          <a:p>
            <a:pPr marL="0" indent="0">
              <a:lnSpc>
                <a:spcPct val="90000"/>
              </a:lnSpc>
              <a:buNone/>
            </a:pPr>
            <a:endParaRPr lang="en-US">
              <a:ea typeface="Lato"/>
              <a:cs typeface="Lato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235B1-1227-455A-8811-B83460548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5528" y="6382512"/>
            <a:ext cx="6757416" cy="320040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000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41BFFF-2938-4187-AE26-6DA1C54773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07624" y="6382512"/>
            <a:ext cx="685800" cy="32004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000"/>
              <a:pPr>
                <a:spcAft>
                  <a:spcPts val="600"/>
                </a:spcAft>
              </a:pPr>
              <a:t>24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3104795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79ECFA-931F-4184-1F20-CBCC34AEA7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655" y="1146258"/>
            <a:ext cx="3773010" cy="2971798"/>
          </a:xfrm>
        </p:spPr>
        <p:txBody>
          <a:bodyPr/>
          <a:lstStyle/>
          <a:p>
            <a:pPr algn="ctr"/>
            <a:r>
              <a:rPr lang="en-US" sz="3600" b="1"/>
              <a:t>Birth Equity QI Office Hours Announcement</a:t>
            </a:r>
          </a:p>
        </p:txBody>
      </p:sp>
      <p:pic>
        <p:nvPicPr>
          <p:cNvPr id="5" name="Picture Placeholder 4" descr="A qr code on a blue background&#10;&#10;Description automatically generated">
            <a:extLst>
              <a:ext uri="{FF2B5EF4-FFF2-40B4-BE49-F238E27FC236}">
                <a16:creationId xmlns:a16="http://schemas.microsoft.com/office/drawing/2014/main" id="{8158A55A-5B9A-3B25-B9B6-CAF3E84A775B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4748" y="170313"/>
            <a:ext cx="6933461" cy="6517374"/>
          </a:xfrm>
        </p:spPr>
      </p:pic>
    </p:spTree>
    <p:extLst>
      <p:ext uri="{BB962C8B-B14F-4D97-AF65-F5344CB8AC3E}">
        <p14:creationId xmlns:p14="http://schemas.microsoft.com/office/powerpoint/2010/main" val="6648186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4" name="Google Shape;12714;p42"/>
          <p:cNvSpPr txBox="1"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Upcoming BE Calls</a:t>
            </a:r>
            <a:endParaRPr/>
          </a:p>
        </p:txBody>
      </p:sp>
      <p:sp>
        <p:nvSpPr>
          <p:cNvPr id="12715" name="Google Shape;12715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 dirty="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26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6" name="Google Shape;12716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graphicFrame>
        <p:nvGraphicFramePr>
          <p:cNvPr id="12717" name="Google Shape;12717;p42"/>
          <p:cNvGraphicFramePr/>
          <p:nvPr>
            <p:extLst>
              <p:ext uri="{D42A27DB-BD31-4B8C-83A1-F6EECF244321}">
                <p14:modId xmlns:p14="http://schemas.microsoft.com/office/powerpoint/2010/main" val="2842159037"/>
              </p:ext>
            </p:extLst>
          </p:nvPr>
        </p:nvGraphicFramePr>
        <p:xfrm>
          <a:off x="244415" y="1624641"/>
          <a:ext cx="9728675" cy="3953123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555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>
                          <a:solidFill>
                            <a:srgbClr val="000000"/>
                          </a:solidFill>
                        </a:rPr>
                        <a:t>Event </a:t>
                      </a:r>
                      <a:endParaRPr sz="1400" u="none" strike="noStrike" cap="none"/>
                    </a:p>
                  </a:txBody>
                  <a:tcPr marL="91450" marR="91450" marT="45725" marB="45725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>
                          <a:solidFill>
                            <a:srgbClr val="000000"/>
                          </a:solidFill>
                        </a:rPr>
                        <a:t>Day/Time </a:t>
                      </a:r>
                      <a:endParaRPr sz="1400" u="none" strike="noStrike" cap="none"/>
                    </a:p>
                  </a:txBody>
                  <a:tcPr marL="91450" marR="91450" marT="45725" marB="45725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March Webinar</a:t>
                      </a: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Community-based Doulas</a:t>
                      </a:r>
                      <a:endParaRPr sz="2400" b="1" i="1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March 18th 12-1pm CT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April Webinar</a:t>
                      </a: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home visiting programs</a:t>
                      </a:r>
                      <a:endParaRPr sz="2400" b="1" i="1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April 15th 12-1pm CT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1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ILPQC Face-to-Face Conference – Springfield, IL</a:t>
                      </a:r>
                      <a:endParaRPr sz="2400" b="1" i="1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4" marB="45724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OB Focus: Wednesday, May 22nd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Neo Focus: Thursday, May 23rd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Teams are encouraged to attend both days!</a:t>
                      </a:r>
                    </a:p>
                  </a:txBody>
                  <a:tcPr marL="91450" marR="91450" marT="45724" marB="45724"/>
                </a:tc>
                <a:extLst>
                  <a:ext uri="{0D108BD9-81ED-4DB2-BD59-A6C34878D82A}">
                    <a16:rowId xmlns:a16="http://schemas.microsoft.com/office/drawing/2014/main" val="1907115210"/>
                  </a:ext>
                </a:extLst>
              </a:tr>
            </a:tbl>
          </a:graphicData>
        </a:graphic>
      </p:graphicFrame>
      <p:pic>
        <p:nvPicPr>
          <p:cNvPr id="12718" name="Google Shape;12718;p42" descr="Daily calendar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5910" y="2089272"/>
            <a:ext cx="2707630" cy="26763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3993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Equity and Safe Sleep in Infants (ESSI)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3310" y="2664696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200">
                <a:solidFill>
                  <a:schemeClr val="accent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Continuing the work to finish strong together.</a:t>
            </a:r>
            <a:r>
              <a:rPr lang="en-US" sz="3400">
                <a:ea typeface="+mn-lt"/>
                <a:cs typeface="+mn-lt"/>
              </a:rPr>
              <a:t>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176873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15" y="354654"/>
            <a:ext cx="7498531" cy="1908738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>
                <a:ea typeface="Lato Medium"/>
                <a:cs typeface="Lato Medium"/>
              </a:rPr>
              <a:t>Building on the Birth Equity Initi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936" y="2591979"/>
            <a:ext cx="10917936" cy="3357266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 smtClean="0"/>
              <a:pPr>
                <a:spcAft>
                  <a:spcPts val="600"/>
                </a:spcAft>
              </a:pPr>
              <a:t>28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C931761-D29D-09E4-AAFE-96074B2CD8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5830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E71487-37C0-4C0E-623A-93B83F76D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US" sz="4800">
                <a:ea typeface="Lato Medium"/>
                <a:cs typeface="Lato Medium"/>
              </a:rPr>
              <a:t>Putting it Together</a:t>
            </a:r>
            <a:endParaRPr lang="en-US" sz="480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DFE288-4664-66CE-222B-30B7E9F7C777}"/>
              </a:ext>
            </a:extLst>
          </p:cNvPr>
          <p:cNvSpPr>
            <a:spLocks/>
          </p:cNvSpPr>
          <p:nvPr/>
        </p:nvSpPr>
        <p:spPr>
          <a:xfrm>
            <a:off x="8056088" y="5964165"/>
            <a:ext cx="1977853" cy="263256"/>
          </a:xfrm>
          <a:prstGeom prst="rect">
            <a:avLst/>
          </a:prstGeom>
        </p:spPr>
        <p:txBody>
          <a:bodyPr/>
          <a:lstStyle/>
          <a:p>
            <a:pPr algn="r" defTabSz="658368">
              <a:spcAft>
                <a:spcPts val="600"/>
              </a:spcAft>
              <a:defRPr/>
            </a:pPr>
            <a:fld id="{97033E4B-E3EB-3D46-B2D8-3159663620FA}" type="slidenum">
              <a:rPr lang="en-US" sz="864" kern="1200" dirty="0">
                <a:solidFill>
                  <a:srgbClr val="50555C"/>
                </a:solidFill>
                <a:latin typeface="Calibri" panose="020F0502020204030204"/>
                <a:ea typeface="+mn-ea"/>
                <a:cs typeface="+mn-cs"/>
              </a:rPr>
              <a:pPr algn="r" defTabSz="658368">
                <a:spcAft>
                  <a:spcPts val="600"/>
                </a:spcAft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47496C-4A07-ABDD-3E52-7818D114D165}"/>
              </a:ext>
            </a:extLst>
          </p:cNvPr>
          <p:cNvSpPr>
            <a:spLocks/>
          </p:cNvSpPr>
          <p:nvPr/>
        </p:nvSpPr>
        <p:spPr>
          <a:xfrm>
            <a:off x="2122529" y="5964165"/>
            <a:ext cx="2966779" cy="263256"/>
          </a:xfrm>
          <a:prstGeom prst="rect">
            <a:avLst/>
          </a:prstGeom>
        </p:spPr>
        <p:txBody>
          <a:bodyPr/>
          <a:lstStyle/>
          <a:p>
            <a:pPr defTabSz="658368">
              <a:spcAft>
                <a:spcPts val="600"/>
              </a:spcAft>
              <a:defRPr/>
            </a:pPr>
            <a:r>
              <a:rPr lang="en-US" sz="864" kern="1200">
                <a:solidFill>
                  <a:srgbClr val="525558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0F2915B1-343A-A7D1-A8F0-0C5B7AB01CE3}"/>
              </a:ext>
            </a:extLst>
          </p:cNvPr>
          <p:cNvSpPr/>
          <p:nvPr/>
        </p:nvSpPr>
        <p:spPr>
          <a:xfrm>
            <a:off x="4067144" y="3523604"/>
            <a:ext cx="961951" cy="923472"/>
          </a:xfrm>
          <a:custGeom>
            <a:avLst/>
            <a:gdLst/>
            <a:ahLst/>
            <a:cxnLst/>
            <a:rect l="l" t="t" r="r" b="b"/>
            <a:pathLst>
              <a:path w="2001279" h="1921227">
                <a:moveTo>
                  <a:pt x="0" y="0"/>
                </a:moveTo>
                <a:lnTo>
                  <a:pt x="2001278" y="0"/>
                </a:lnTo>
                <a:lnTo>
                  <a:pt x="2001278" y="1921227"/>
                </a:lnTo>
                <a:lnTo>
                  <a:pt x="0" y="192122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9" name="Freeform 3">
            <a:extLst>
              <a:ext uri="{FF2B5EF4-FFF2-40B4-BE49-F238E27FC236}">
                <a16:creationId xmlns:a16="http://schemas.microsoft.com/office/drawing/2014/main" id="{5B6B85F4-3C0B-C459-93D1-08C96EE11C3C}"/>
              </a:ext>
            </a:extLst>
          </p:cNvPr>
          <p:cNvSpPr/>
          <p:nvPr/>
        </p:nvSpPr>
        <p:spPr>
          <a:xfrm>
            <a:off x="1852443" y="3050891"/>
            <a:ext cx="1953735" cy="1953735"/>
          </a:xfrm>
          <a:custGeom>
            <a:avLst/>
            <a:gdLst/>
            <a:ahLst/>
            <a:cxnLst/>
            <a:rect l="l" t="t" r="r" b="b"/>
            <a:pathLst>
              <a:path w="4064623" h="4064623">
                <a:moveTo>
                  <a:pt x="0" y="0"/>
                </a:moveTo>
                <a:lnTo>
                  <a:pt x="4064623" y="0"/>
                </a:lnTo>
                <a:lnTo>
                  <a:pt x="4064623" y="4064624"/>
                </a:lnTo>
                <a:lnTo>
                  <a:pt x="0" y="4064624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11" name="Freeform 4">
            <a:extLst>
              <a:ext uri="{FF2B5EF4-FFF2-40B4-BE49-F238E27FC236}">
                <a16:creationId xmlns:a16="http://schemas.microsoft.com/office/drawing/2014/main" id="{4354EF3D-18AD-5FC4-80E6-E6E182BD4CB4}"/>
              </a:ext>
            </a:extLst>
          </p:cNvPr>
          <p:cNvSpPr/>
          <p:nvPr/>
        </p:nvSpPr>
        <p:spPr>
          <a:xfrm>
            <a:off x="5206186" y="3044860"/>
            <a:ext cx="1959764" cy="1959764"/>
          </a:xfrm>
          <a:custGeom>
            <a:avLst/>
            <a:gdLst/>
            <a:ahLst/>
            <a:cxnLst/>
            <a:rect l="l" t="t" r="r" b="b"/>
            <a:pathLst>
              <a:path w="4077168" h="4077168">
                <a:moveTo>
                  <a:pt x="0" y="0"/>
                </a:moveTo>
                <a:lnTo>
                  <a:pt x="4077169" y="0"/>
                </a:lnTo>
                <a:lnTo>
                  <a:pt x="4077169" y="4077169"/>
                </a:lnTo>
                <a:lnTo>
                  <a:pt x="0" y="4077169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619438E2-EF62-8DE5-917B-63D2EB66C782}"/>
              </a:ext>
            </a:extLst>
          </p:cNvPr>
          <p:cNvSpPr/>
          <p:nvPr/>
        </p:nvSpPr>
        <p:spPr>
          <a:xfrm>
            <a:off x="7332732" y="3743471"/>
            <a:ext cx="777384" cy="562544"/>
          </a:xfrm>
          <a:custGeom>
            <a:avLst/>
            <a:gdLst/>
            <a:ahLst/>
            <a:cxnLst/>
            <a:rect l="l" t="t" r="r" b="b"/>
            <a:pathLst>
              <a:path w="1617299" h="1170337">
                <a:moveTo>
                  <a:pt x="0" y="0"/>
                </a:moveTo>
                <a:lnTo>
                  <a:pt x="1617300" y="0"/>
                </a:lnTo>
                <a:lnTo>
                  <a:pt x="1617300" y="1170337"/>
                </a:lnTo>
                <a:lnTo>
                  <a:pt x="0" y="1170337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DEDB5EE0-2BE1-D237-F635-065D8EDF0FD1}"/>
              </a:ext>
            </a:extLst>
          </p:cNvPr>
          <p:cNvSpPr/>
          <p:nvPr/>
        </p:nvSpPr>
        <p:spPr>
          <a:xfrm>
            <a:off x="8357347" y="3017519"/>
            <a:ext cx="1977853" cy="1977853"/>
          </a:xfrm>
          <a:custGeom>
            <a:avLst/>
            <a:gdLst/>
            <a:ahLst/>
            <a:cxnLst/>
            <a:rect l="l" t="t" r="r" b="b"/>
            <a:pathLst>
              <a:path w="4114800" h="411480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a:blipFill>
        </p:spPr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E44795EA-358A-F7D2-CE8C-50736D9317D9}"/>
              </a:ext>
            </a:extLst>
          </p:cNvPr>
          <p:cNvSpPr txBox="1"/>
          <p:nvPr/>
        </p:nvSpPr>
        <p:spPr>
          <a:xfrm>
            <a:off x="1953653" y="3418472"/>
            <a:ext cx="1627192" cy="11372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58368">
              <a:lnSpc>
                <a:spcPts val="2921"/>
              </a:lnSpc>
              <a:spcAft>
                <a:spcPts val="600"/>
              </a:spcAft>
              <a:defRPr/>
            </a:pPr>
            <a:r>
              <a:rPr lang="en-US" sz="2592" kern="1200">
                <a:solidFill>
                  <a:srgbClr val="555555"/>
                </a:solidFill>
                <a:latin typeface="Canva Sans Bold"/>
                <a:ea typeface="+mn-ea"/>
                <a:cs typeface="+mn-cs"/>
              </a:rPr>
              <a:t>Equitable Care Delivery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va Sans Bold"/>
              <a:ea typeface="+mn-ea"/>
              <a:cs typeface="+mn-cs"/>
            </a:endParaRPr>
          </a:p>
        </p:txBody>
      </p:sp>
      <p:sp>
        <p:nvSpPr>
          <p:cNvPr id="19" name="TextBox 8">
            <a:extLst>
              <a:ext uri="{FF2B5EF4-FFF2-40B4-BE49-F238E27FC236}">
                <a16:creationId xmlns:a16="http://schemas.microsoft.com/office/drawing/2014/main" id="{8EE4F3A6-19F8-9372-0E8F-556564648CEC}"/>
              </a:ext>
            </a:extLst>
          </p:cNvPr>
          <p:cNvSpPr txBox="1"/>
          <p:nvPr/>
        </p:nvSpPr>
        <p:spPr>
          <a:xfrm>
            <a:off x="5173258" y="3607134"/>
            <a:ext cx="1971454" cy="7581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58368">
              <a:lnSpc>
                <a:spcPts val="2921"/>
              </a:lnSpc>
              <a:spcAft>
                <a:spcPts val="600"/>
              </a:spcAft>
              <a:defRPr/>
            </a:pPr>
            <a:r>
              <a:rPr lang="en-US" sz="2448" kern="1200">
                <a:solidFill>
                  <a:srgbClr val="555555"/>
                </a:solidFill>
                <a:latin typeface="Canva Sans Bold"/>
                <a:ea typeface="+mn-ea"/>
                <a:cs typeface="+mn-cs"/>
              </a:rPr>
              <a:t>Safe Sleep Environment</a:t>
            </a:r>
            <a:endParaRPr kumimoji="0" lang="en-US" sz="3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va Sans Bold"/>
              <a:ea typeface="+mn-ea"/>
              <a:cs typeface="+mn-cs"/>
            </a:endParaRP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3141B83C-6D91-76C8-D51C-2A418EBA8137}"/>
              </a:ext>
            </a:extLst>
          </p:cNvPr>
          <p:cNvSpPr txBox="1"/>
          <p:nvPr/>
        </p:nvSpPr>
        <p:spPr>
          <a:xfrm>
            <a:off x="8357347" y="3441194"/>
            <a:ext cx="1627192" cy="7195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58368">
              <a:lnSpc>
                <a:spcPts val="5944"/>
              </a:lnSpc>
              <a:spcAft>
                <a:spcPts val="600"/>
              </a:spcAft>
              <a:defRPr/>
            </a:pPr>
            <a:r>
              <a:rPr lang="en-US" sz="4247" kern="1200">
                <a:solidFill>
                  <a:srgbClr val="555555"/>
                </a:solidFill>
                <a:latin typeface="Canva Sans Bold"/>
                <a:ea typeface="+mn-ea"/>
                <a:cs typeface="+mn-cs"/>
              </a:rPr>
              <a:t>ESSI</a:t>
            </a:r>
            <a:endParaRPr kumimoji="0" lang="en-US" sz="5898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nva Sans 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017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A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9444723" y="1579421"/>
            <a:ext cx="2751492" cy="4179349"/>
          </a:xfrm>
          <a:custGeom>
            <a:avLst/>
            <a:gdLst/>
            <a:ahLst/>
            <a:cxnLst/>
            <a:rect l="l" t="t" r="r" b="b"/>
            <a:pathLst>
              <a:path w="4127238" h="6269024">
                <a:moveTo>
                  <a:pt x="0" y="0"/>
                </a:moveTo>
                <a:lnTo>
                  <a:pt x="4127238" y="0"/>
                </a:lnTo>
                <a:lnTo>
                  <a:pt x="4127238" y="6269024"/>
                </a:lnTo>
                <a:lnTo>
                  <a:pt x="0" y="6269024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sp>
        <p:nvSpPr>
          <p:cNvPr id="4" name="TextBox 4"/>
          <p:cNvSpPr txBox="1"/>
          <p:nvPr/>
        </p:nvSpPr>
        <p:spPr>
          <a:xfrm>
            <a:off x="273730" y="1140997"/>
            <a:ext cx="9331906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000" b="1">
                <a:latin typeface="Calibri"/>
                <a:cs typeface="Calibri"/>
              </a:rPr>
              <a:t>ILPQC: Making Change Happen</a:t>
            </a:r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427430" y="2300599"/>
            <a:ext cx="2819636" cy="2535710"/>
            <a:chOff x="0" y="0"/>
            <a:chExt cx="1113930" cy="717765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1113930" cy="717765"/>
            </a:xfrm>
            <a:custGeom>
              <a:avLst/>
              <a:gdLst/>
              <a:ahLst/>
              <a:cxnLst/>
              <a:rect l="l" t="t" r="r" b="b"/>
              <a:pathLst>
                <a:path w="1113930" h="717765">
                  <a:moveTo>
                    <a:pt x="93354" y="0"/>
                  </a:moveTo>
                  <a:lnTo>
                    <a:pt x="1020576" y="0"/>
                  </a:lnTo>
                  <a:cubicBezTo>
                    <a:pt x="1072134" y="0"/>
                    <a:pt x="1113930" y="41796"/>
                    <a:pt x="1113930" y="93354"/>
                  </a:cubicBezTo>
                  <a:lnTo>
                    <a:pt x="1113930" y="624411"/>
                  </a:lnTo>
                  <a:cubicBezTo>
                    <a:pt x="1113930" y="649170"/>
                    <a:pt x="1104095" y="672915"/>
                    <a:pt x="1086587" y="690422"/>
                  </a:cubicBezTo>
                  <a:cubicBezTo>
                    <a:pt x="1069080" y="707930"/>
                    <a:pt x="1045335" y="717765"/>
                    <a:pt x="1020576" y="717765"/>
                  </a:cubicBezTo>
                  <a:lnTo>
                    <a:pt x="93354" y="717765"/>
                  </a:lnTo>
                  <a:cubicBezTo>
                    <a:pt x="41796" y="717765"/>
                    <a:pt x="0" y="675969"/>
                    <a:pt x="0" y="624411"/>
                  </a:cubicBezTo>
                  <a:lnTo>
                    <a:pt x="0" y="93354"/>
                  </a:lnTo>
                  <a:cubicBezTo>
                    <a:pt x="0" y="41796"/>
                    <a:pt x="41796" y="0"/>
                    <a:pt x="93354" y="0"/>
                  </a:cubicBezTo>
                  <a:close/>
                </a:path>
              </a:pathLst>
            </a:custGeom>
            <a:solidFill>
              <a:srgbClr val="B8CDDB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0" y="9525"/>
              <a:ext cx="1113930" cy="70824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2"/>
                </a:lnSpc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3492024" y="2343731"/>
            <a:ext cx="2819636" cy="2535710"/>
            <a:chOff x="0" y="0"/>
            <a:chExt cx="1113930" cy="717765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113930" cy="717765"/>
            </a:xfrm>
            <a:custGeom>
              <a:avLst/>
              <a:gdLst/>
              <a:ahLst/>
              <a:cxnLst/>
              <a:rect l="l" t="t" r="r" b="b"/>
              <a:pathLst>
                <a:path w="1113930" h="717765">
                  <a:moveTo>
                    <a:pt x="93354" y="0"/>
                  </a:moveTo>
                  <a:lnTo>
                    <a:pt x="1020576" y="0"/>
                  </a:lnTo>
                  <a:cubicBezTo>
                    <a:pt x="1072134" y="0"/>
                    <a:pt x="1113930" y="41796"/>
                    <a:pt x="1113930" y="93354"/>
                  </a:cubicBezTo>
                  <a:lnTo>
                    <a:pt x="1113930" y="624411"/>
                  </a:lnTo>
                  <a:cubicBezTo>
                    <a:pt x="1113930" y="649170"/>
                    <a:pt x="1104095" y="672915"/>
                    <a:pt x="1086587" y="690422"/>
                  </a:cubicBezTo>
                  <a:cubicBezTo>
                    <a:pt x="1069080" y="707930"/>
                    <a:pt x="1045335" y="717765"/>
                    <a:pt x="1020576" y="717765"/>
                  </a:cubicBezTo>
                  <a:lnTo>
                    <a:pt x="93354" y="717765"/>
                  </a:lnTo>
                  <a:cubicBezTo>
                    <a:pt x="41796" y="717765"/>
                    <a:pt x="0" y="675969"/>
                    <a:pt x="0" y="624411"/>
                  </a:cubicBezTo>
                  <a:lnTo>
                    <a:pt x="0" y="93354"/>
                  </a:lnTo>
                  <a:cubicBezTo>
                    <a:pt x="0" y="41796"/>
                    <a:pt x="41796" y="0"/>
                    <a:pt x="93354" y="0"/>
                  </a:cubicBezTo>
                  <a:close/>
                </a:path>
              </a:pathLst>
            </a:custGeom>
            <a:solidFill>
              <a:srgbClr val="F7BB97"/>
            </a:solidFill>
          </p:spPr>
        </p:sp>
        <p:sp>
          <p:nvSpPr>
            <p:cNvPr id="10" name="TextBox 10"/>
            <p:cNvSpPr txBox="1"/>
            <p:nvPr/>
          </p:nvSpPr>
          <p:spPr>
            <a:xfrm>
              <a:off x="0" y="9525"/>
              <a:ext cx="1113930" cy="70824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2"/>
                </a:lnSpc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6468374" y="2343731"/>
            <a:ext cx="2819636" cy="2535710"/>
            <a:chOff x="0" y="0"/>
            <a:chExt cx="1113930" cy="717765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1113930" cy="717765"/>
            </a:xfrm>
            <a:custGeom>
              <a:avLst/>
              <a:gdLst/>
              <a:ahLst/>
              <a:cxnLst/>
              <a:rect l="l" t="t" r="r" b="b"/>
              <a:pathLst>
                <a:path w="1113930" h="717765">
                  <a:moveTo>
                    <a:pt x="93354" y="0"/>
                  </a:moveTo>
                  <a:lnTo>
                    <a:pt x="1020576" y="0"/>
                  </a:lnTo>
                  <a:cubicBezTo>
                    <a:pt x="1072134" y="0"/>
                    <a:pt x="1113930" y="41796"/>
                    <a:pt x="1113930" y="93354"/>
                  </a:cubicBezTo>
                  <a:lnTo>
                    <a:pt x="1113930" y="624411"/>
                  </a:lnTo>
                  <a:cubicBezTo>
                    <a:pt x="1113930" y="649170"/>
                    <a:pt x="1104095" y="672915"/>
                    <a:pt x="1086587" y="690422"/>
                  </a:cubicBezTo>
                  <a:cubicBezTo>
                    <a:pt x="1069080" y="707930"/>
                    <a:pt x="1045335" y="717765"/>
                    <a:pt x="1020576" y="717765"/>
                  </a:cubicBezTo>
                  <a:lnTo>
                    <a:pt x="93354" y="717765"/>
                  </a:lnTo>
                  <a:cubicBezTo>
                    <a:pt x="41796" y="717765"/>
                    <a:pt x="0" y="675969"/>
                    <a:pt x="0" y="624411"/>
                  </a:cubicBezTo>
                  <a:lnTo>
                    <a:pt x="0" y="93354"/>
                  </a:lnTo>
                  <a:cubicBezTo>
                    <a:pt x="0" y="41796"/>
                    <a:pt x="41796" y="0"/>
                    <a:pt x="93354" y="0"/>
                  </a:cubicBezTo>
                  <a:close/>
                </a:path>
              </a:pathLst>
            </a:custGeom>
            <a:solidFill>
              <a:srgbClr val="FFD2CC"/>
            </a:solidFill>
          </p:spPr>
        </p:sp>
        <p:sp>
          <p:nvSpPr>
            <p:cNvPr id="13" name="TextBox 13"/>
            <p:cNvSpPr txBox="1"/>
            <p:nvPr/>
          </p:nvSpPr>
          <p:spPr>
            <a:xfrm>
              <a:off x="0" y="9525"/>
              <a:ext cx="1113930" cy="70824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932"/>
                </a:lnSpc>
              </a:pPr>
              <a:endParaRPr sz="800"/>
            </a:p>
          </p:txBody>
        </p:sp>
      </p:grpSp>
      <p:sp>
        <p:nvSpPr>
          <p:cNvPr id="14" name="TextBox 14"/>
          <p:cNvSpPr txBox="1"/>
          <p:nvPr/>
        </p:nvSpPr>
        <p:spPr>
          <a:xfrm>
            <a:off x="1007903" y="2580897"/>
            <a:ext cx="1773708" cy="377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  <a:spcBef>
                <a:spcPct val="0"/>
              </a:spcBef>
            </a:pPr>
            <a:r>
              <a:rPr lang="en-US" sz="3200" b="1" spc="63">
                <a:solidFill>
                  <a:schemeClr val="tx2"/>
                </a:solidFill>
                <a:latin typeface="Calibri"/>
                <a:cs typeface="Calibri"/>
              </a:rPr>
              <a:t>ENGAGE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542027" y="3496067"/>
            <a:ext cx="2509233" cy="7377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25"/>
              </a:lnSpc>
            </a:pPr>
            <a:r>
              <a:rPr lang="en-US" sz="2000" spc="40">
                <a:solidFill>
                  <a:srgbClr val="000000"/>
                </a:solidFill>
                <a:latin typeface="Calibri"/>
                <a:cs typeface="Calibri"/>
              </a:rPr>
              <a:t>Engage hospitals to create an environment of improve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3762245" y="3366670"/>
            <a:ext cx="2365459" cy="9958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25"/>
              </a:lnSpc>
            </a:pPr>
            <a:r>
              <a:rPr lang="en-US" sz="2000" spc="40">
                <a:solidFill>
                  <a:srgbClr val="000000"/>
                </a:solidFill>
                <a:latin typeface="Calibri"/>
                <a:cs typeface="Calibri"/>
              </a:rPr>
              <a:t>Motivate hospital teams to facilitate change at their hospital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7040233" y="2580897"/>
            <a:ext cx="1773708" cy="3776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  <a:spcBef>
                <a:spcPct val="0"/>
              </a:spcBef>
            </a:pPr>
            <a:r>
              <a:rPr lang="en-US" sz="3200" b="1" spc="63">
                <a:solidFill>
                  <a:schemeClr val="tx2"/>
                </a:solidFill>
                <a:latin typeface="Calibri"/>
                <a:cs typeface="Calibri"/>
              </a:rPr>
              <a:t>SUPPOR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6642101" y="3309161"/>
            <a:ext cx="2451723" cy="12250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25"/>
              </a:lnSpc>
            </a:pPr>
            <a:r>
              <a:rPr lang="en-US" sz="2000" spc="40">
                <a:solidFill>
                  <a:srgbClr val="000000"/>
                </a:solidFill>
                <a:latin typeface="Calibri"/>
                <a:cs typeface="Calibri"/>
              </a:rPr>
              <a:t>Support hospital teams through </a:t>
            </a:r>
            <a:endParaRPr lang="en-US"/>
          </a:p>
          <a:p>
            <a:pPr algn="ctr">
              <a:lnSpc>
                <a:spcPts val="1925"/>
              </a:lnSpc>
            </a:pPr>
            <a:r>
              <a:rPr lang="en-US" sz="2000" spc="40">
                <a:solidFill>
                  <a:srgbClr val="000000"/>
                </a:solidFill>
                <a:latin typeface="Calibri"/>
                <a:cs typeface="Calibri"/>
              </a:rPr>
              <a:t>collaborative learning, rapid-response data, &amp;  QI support​</a:t>
            </a:r>
            <a:endParaRPr lang="en-US"/>
          </a:p>
        </p:txBody>
      </p:sp>
      <p:sp>
        <p:nvSpPr>
          <p:cNvPr id="19" name="TextBox 19"/>
          <p:cNvSpPr txBox="1"/>
          <p:nvPr/>
        </p:nvSpPr>
        <p:spPr>
          <a:xfrm>
            <a:off x="4007134" y="2580897"/>
            <a:ext cx="1960613" cy="37766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  <a:spcBef>
                <a:spcPct val="0"/>
              </a:spcBef>
            </a:pPr>
            <a:r>
              <a:rPr lang="en-US" sz="3200" b="1" spc="63">
                <a:solidFill>
                  <a:schemeClr val="tx2"/>
                </a:solidFill>
                <a:latin typeface="Calibri"/>
                <a:cs typeface="Calibri"/>
              </a:rPr>
              <a:t>MOTIVATE​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566662" y="5019979"/>
            <a:ext cx="9114727" cy="13439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2800" spc="55">
                <a:latin typeface="Calibri"/>
                <a:cs typeface="Calibri"/>
              </a:rPr>
              <a:t>TO ACHIEVE INITIATIVE GOALS AND EQUITABLY IMPROVE OUTCOMES AND REDUCE DISPARITIES </a:t>
            </a:r>
            <a:endParaRPr lang="en-US" sz="2800" spc="55">
              <a:latin typeface="Calibri"/>
              <a:ea typeface="Calibri"/>
              <a:cs typeface="Calibri"/>
            </a:endParaRPr>
          </a:p>
          <a:p>
            <a:pPr algn="ctr">
              <a:spcBef>
                <a:spcPts val="400"/>
              </a:spcBef>
            </a:pPr>
            <a:r>
              <a:rPr lang="en-US" sz="2800" spc="55">
                <a:latin typeface="Calibri"/>
                <a:cs typeface="Calibri"/>
              </a:rPr>
              <a:t>FOR BIRTHING PEOPLE AND THEIR NEWBORNS </a:t>
            </a:r>
            <a:endParaRPr lang="en-US" sz="2800" spc="55"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97545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3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474241"/>
            <a:ext cx="7457964" cy="5682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ESSI Newborn Care Plan is documented in the discharge summary.</a:t>
            </a: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9600099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31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/>
              <a:t>By December 2025: </a:t>
            </a:r>
            <a:endParaRPr lang="en-US" sz="1500">
              <a:ea typeface="Calibri"/>
              <a:cs typeface="Calibri"/>
            </a:endParaRPr>
          </a:p>
          <a:p>
            <a:endParaRPr lang="en-US" sz="1500">
              <a:ea typeface="Calibri"/>
              <a:cs typeface="Calibri"/>
            </a:endParaRPr>
          </a:p>
          <a:p>
            <a:r>
              <a:rPr lang="en-US" sz="1500"/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ea typeface="Calibri"/>
              <a:cs typeface="Calibri"/>
            </a:endParaRPr>
          </a:p>
          <a:p>
            <a:r>
              <a:rPr lang="en-US" sz="1500"/>
              <a:t>2. Greater than 80% of infants will be discharged from ILPQC hospitals with a completed ESSI bundle. 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SDoH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SDoH screening and resource 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4A896AC-D4A6-C6C0-A8BE-7B8A9BFEC041}"/>
              </a:ext>
            </a:extLst>
          </p:cNvPr>
          <p:cNvSpPr/>
          <p:nvPr/>
        </p:nvSpPr>
        <p:spPr>
          <a:xfrm>
            <a:off x="4718792" y="728543"/>
            <a:ext cx="7418716" cy="84826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 descr="Star outline">
            <a:extLst>
              <a:ext uri="{FF2B5EF4-FFF2-40B4-BE49-F238E27FC236}">
                <a16:creationId xmlns:a16="http://schemas.microsoft.com/office/drawing/2014/main" id="{D10B6826-58E8-9280-05F7-7A0A632EB4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330460" y="34074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3439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938142" y="5123272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5781680" y="5498672"/>
            <a:ext cx="5457846" cy="1085844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54D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938142" y="374333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7" name="Group 7"/>
          <p:cNvGrpSpPr/>
          <p:nvPr/>
        </p:nvGrpSpPr>
        <p:grpSpPr>
          <a:xfrm>
            <a:off x="5781680" y="4325711"/>
            <a:ext cx="5457846" cy="1085844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0" name="Freeform 10"/>
          <p:cNvSpPr/>
          <p:nvPr/>
        </p:nvSpPr>
        <p:spPr>
          <a:xfrm>
            <a:off x="5938142" y="2359430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grpSp>
        <p:nvGrpSpPr>
          <p:cNvPr id="11" name="Group 11"/>
          <p:cNvGrpSpPr/>
          <p:nvPr/>
        </p:nvGrpSpPr>
        <p:grpSpPr>
          <a:xfrm>
            <a:off x="5704980" y="1524486"/>
            <a:ext cx="5457846" cy="1085844"/>
            <a:chOff x="0" y="0"/>
            <a:chExt cx="2156186" cy="428975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53BF9D"/>
            </a:solidFill>
          </p:spPr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5704980" y="298942"/>
            <a:ext cx="5457846" cy="1085844"/>
            <a:chOff x="0" y="0"/>
            <a:chExt cx="2156186" cy="428975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94C66"/>
            </a:solidFill>
          </p:spPr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7" name="AutoShape 17"/>
          <p:cNvSpPr/>
          <p:nvPr/>
        </p:nvSpPr>
        <p:spPr>
          <a:xfrm flipV="1">
            <a:off x="6862805" y="543941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8" name="AutoShape 18"/>
          <p:cNvSpPr/>
          <p:nvPr/>
        </p:nvSpPr>
        <p:spPr>
          <a:xfrm flipV="1">
            <a:off x="6875505" y="1699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9" name="AutoShape 19"/>
          <p:cNvSpPr/>
          <p:nvPr/>
        </p:nvSpPr>
        <p:spPr>
          <a:xfrm flipV="1">
            <a:off x="6888205" y="4606691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0" name="AutoShape 20"/>
          <p:cNvSpPr/>
          <p:nvPr/>
        </p:nvSpPr>
        <p:spPr>
          <a:xfrm flipV="1">
            <a:off x="6888205" y="5756243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1" name="AutoShape 21"/>
          <p:cNvSpPr/>
          <p:nvPr/>
        </p:nvSpPr>
        <p:spPr>
          <a:xfrm>
            <a:off x="5781679" y="2884983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31" name="Freeform 31"/>
          <p:cNvSpPr/>
          <p:nvPr/>
        </p:nvSpPr>
        <p:spPr>
          <a:xfrm rot="16200000">
            <a:off x="6317404" y="5809543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a:blipFill>
        </p:spPr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34" name="TextBox 34"/>
          <p:cNvSpPr txBox="1"/>
          <p:nvPr/>
        </p:nvSpPr>
        <p:spPr>
          <a:xfrm>
            <a:off x="896976" y="2086999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grpSp>
        <p:nvGrpSpPr>
          <p:cNvPr id="35" name="Group 35"/>
          <p:cNvGrpSpPr/>
          <p:nvPr/>
        </p:nvGrpSpPr>
        <p:grpSpPr>
          <a:xfrm>
            <a:off x="685801" y="685800"/>
            <a:ext cx="3816499" cy="1229323"/>
            <a:chOff x="0" y="0"/>
            <a:chExt cx="1300650" cy="418949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300650" cy="418949"/>
            </a:xfrm>
            <a:custGeom>
              <a:avLst/>
              <a:gdLst/>
              <a:ahLst/>
              <a:cxnLst/>
              <a:rect l="l" t="t" r="r" b="b"/>
              <a:pathLst>
                <a:path w="1300650" h="418949">
                  <a:moveTo>
                    <a:pt x="27047" y="0"/>
                  </a:moveTo>
                  <a:lnTo>
                    <a:pt x="1273603" y="0"/>
                  </a:lnTo>
                  <a:cubicBezTo>
                    <a:pt x="1288541" y="0"/>
                    <a:pt x="1300650" y="12109"/>
                    <a:pt x="1300650" y="27047"/>
                  </a:cubicBezTo>
                  <a:lnTo>
                    <a:pt x="1300650" y="391902"/>
                  </a:lnTo>
                  <a:cubicBezTo>
                    <a:pt x="1300650" y="399075"/>
                    <a:pt x="1297800" y="405955"/>
                    <a:pt x="1292728" y="411027"/>
                  </a:cubicBezTo>
                  <a:cubicBezTo>
                    <a:pt x="1287656" y="416099"/>
                    <a:pt x="1280776" y="418949"/>
                    <a:pt x="1273603" y="418949"/>
                  </a:cubicBezTo>
                  <a:lnTo>
                    <a:pt x="27047" y="418949"/>
                  </a:lnTo>
                  <a:cubicBezTo>
                    <a:pt x="19874" y="418949"/>
                    <a:pt x="12994" y="416099"/>
                    <a:pt x="7922" y="411027"/>
                  </a:cubicBezTo>
                  <a:cubicBezTo>
                    <a:pt x="2850" y="405955"/>
                    <a:pt x="0" y="399075"/>
                    <a:pt x="0" y="391902"/>
                  </a:cubicBezTo>
                  <a:lnTo>
                    <a:pt x="0" y="27047"/>
                  </a:lnTo>
                  <a:cubicBezTo>
                    <a:pt x="0" y="19874"/>
                    <a:pt x="2850" y="12994"/>
                    <a:pt x="7922" y="7922"/>
                  </a:cubicBezTo>
                  <a:cubicBezTo>
                    <a:pt x="12994" y="2850"/>
                    <a:pt x="19874" y="0"/>
                    <a:pt x="2704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53BF9D"/>
              </a:solidFill>
              <a:prstDash val="solid"/>
              <a:miter/>
            </a:ln>
          </p:spPr>
        </p:sp>
        <p:sp>
          <p:nvSpPr>
            <p:cNvPr id="37" name="TextBox 37"/>
            <p:cNvSpPr txBox="1"/>
            <p:nvPr/>
          </p:nvSpPr>
          <p:spPr>
            <a:xfrm>
              <a:off x="0" y="-38100"/>
              <a:ext cx="1300650" cy="45704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38" name="Freeform 38"/>
          <p:cNvSpPr/>
          <p:nvPr/>
        </p:nvSpPr>
        <p:spPr>
          <a:xfrm>
            <a:off x="3590492" y="2438686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a:blipFill>
        </p:spPr>
      </p:sp>
      <p:grpSp>
        <p:nvGrpSpPr>
          <p:cNvPr id="39" name="Group 39"/>
          <p:cNvGrpSpPr/>
          <p:nvPr/>
        </p:nvGrpSpPr>
        <p:grpSpPr>
          <a:xfrm>
            <a:off x="685800" y="4281327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2" name="Freeform 42"/>
          <p:cNvSpPr/>
          <p:nvPr/>
        </p:nvSpPr>
        <p:spPr>
          <a:xfrm>
            <a:off x="5912498" y="478995"/>
            <a:ext cx="862781" cy="670812"/>
          </a:xfrm>
          <a:custGeom>
            <a:avLst/>
            <a:gdLst/>
            <a:ahLst/>
            <a:cxnLst/>
            <a:rect l="l" t="t" r="r" b="b"/>
            <a:pathLst>
              <a:path w="1294171" h="1006218">
                <a:moveTo>
                  <a:pt x="0" y="0"/>
                </a:moveTo>
                <a:lnTo>
                  <a:pt x="1294171" y="0"/>
                </a:lnTo>
                <a:lnTo>
                  <a:pt x="1294171" y="1006218"/>
                </a:lnTo>
                <a:lnTo>
                  <a:pt x="0" y="1006218"/>
                </a:lnTo>
                <a:lnTo>
                  <a:pt x="0" y="0"/>
                </a:lnTo>
                <a:close/>
              </a:path>
            </a:pathLst>
          </a:custGeom>
          <a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43" name="Group 43"/>
          <p:cNvGrpSpPr/>
          <p:nvPr/>
        </p:nvGrpSpPr>
        <p:grpSpPr>
          <a:xfrm>
            <a:off x="5781680" y="3050083"/>
            <a:ext cx="5457846" cy="1085844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900905" y="3257183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47" name="Freeform 47"/>
          <p:cNvSpPr/>
          <p:nvPr/>
        </p:nvSpPr>
        <p:spPr>
          <a:xfrm>
            <a:off x="5950259" y="1651425"/>
            <a:ext cx="787260" cy="787260"/>
          </a:xfrm>
          <a:custGeom>
            <a:avLst/>
            <a:gdLst/>
            <a:ahLst/>
            <a:cxnLst/>
            <a:rect l="l" t="t" r="r" b="b"/>
            <a:pathLst>
              <a:path w="1180890" h="1180890">
                <a:moveTo>
                  <a:pt x="0" y="0"/>
                </a:moveTo>
                <a:lnTo>
                  <a:pt x="1180890" y="0"/>
                </a:lnTo>
                <a:lnTo>
                  <a:pt x="1180890" y="1180890"/>
                </a:lnTo>
                <a:lnTo>
                  <a:pt x="0" y="1180890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a:blipFill>
        </p:spPr>
      </p:sp>
      <p:sp>
        <p:nvSpPr>
          <p:cNvPr id="48" name="Freeform 48"/>
          <p:cNvSpPr/>
          <p:nvPr/>
        </p:nvSpPr>
        <p:spPr>
          <a:xfrm>
            <a:off x="5912498" y="3234543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8"/>
                </a:ext>
              </a:extLst>
            </a:blip>
            <a:stretch>
              <a:fillRect/>
            </a:stretch>
          </a:blipFill>
        </p:spPr>
      </p:sp>
      <p:sp>
        <p:nvSpPr>
          <p:cNvPr id="49" name="Freeform 49"/>
          <p:cNvSpPr/>
          <p:nvPr/>
        </p:nvSpPr>
        <p:spPr>
          <a:xfrm>
            <a:off x="6022040" y="4501721"/>
            <a:ext cx="715479" cy="733824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0"/>
                </a:ext>
              </a:extLst>
            </a:blip>
            <a:stretch>
              <a:fillRect/>
            </a:stretch>
          </a:blipFill>
        </p:spPr>
      </p:sp>
      <p:sp>
        <p:nvSpPr>
          <p:cNvPr id="50" name="Freeform 50"/>
          <p:cNvSpPr/>
          <p:nvPr/>
        </p:nvSpPr>
        <p:spPr>
          <a:xfrm>
            <a:off x="6061891" y="5658876"/>
            <a:ext cx="598823" cy="803790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22"/>
                </a:ext>
              </a:extLst>
            </a:blip>
            <a:stretch>
              <a:fillRect/>
            </a:stretch>
          </a:blipFill>
        </p:spPr>
      </p:sp>
      <p:sp>
        <p:nvSpPr>
          <p:cNvPr id="51" name="TextBox 51"/>
          <p:cNvSpPr txBox="1"/>
          <p:nvPr/>
        </p:nvSpPr>
        <p:spPr>
          <a:xfrm>
            <a:off x="7002505" y="369410"/>
            <a:ext cx="4084512" cy="9592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Educate providers, nurses, and other staff about listening to families, providing respectful care and building trust, and addressing implicit bias and engaging in anti-racism </a:t>
            </a:r>
            <a:endParaRPr lang="en-US" sz="1344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2" name="TextBox 52"/>
          <p:cNvSpPr txBox="1"/>
          <p:nvPr/>
        </p:nvSpPr>
        <p:spPr>
          <a:xfrm>
            <a:off x="7002505" y="1741317"/>
            <a:ext cx="3456530" cy="4719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Encourage open discussions about equitable and respectful care </a:t>
            </a:r>
            <a:endParaRPr lang="en-US" sz="1344" b="1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3" name="TextBox 53"/>
          <p:cNvSpPr txBox="1"/>
          <p:nvPr/>
        </p:nvSpPr>
        <p:spPr>
          <a:xfrm>
            <a:off x="7006459" y="3238168"/>
            <a:ext cx="4080559" cy="715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Educate providers, nurses, and other staff about the importance of a safe sleep environment for every sleep during hospitalization and at home  </a:t>
            </a:r>
            <a:endParaRPr lang="en-US" sz="1344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999151" y="5662230"/>
            <a:ext cx="4086822" cy="7140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Endorse and model a safe sleep environment for every sleep during the hospitalization, including correcting unsafe behaviors  </a:t>
            </a:r>
            <a:endParaRPr lang="en-US" sz="1344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5" name="TextBox 55"/>
          <p:cNvSpPr txBox="1"/>
          <p:nvPr/>
        </p:nvSpPr>
        <p:spPr>
          <a:xfrm>
            <a:off x="896975" y="863581"/>
            <a:ext cx="3454879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Barlow Semi-Bold"/>
              </a:rPr>
              <a:t>Secondary Driver 1: Equitable and Respectful Care Education and Implementation </a:t>
            </a:r>
          </a:p>
        </p:txBody>
      </p:sp>
      <p:sp>
        <p:nvSpPr>
          <p:cNvPr id="56" name="TextBox 56"/>
          <p:cNvSpPr txBox="1"/>
          <p:nvPr/>
        </p:nvSpPr>
        <p:spPr>
          <a:xfrm>
            <a:off x="685800" y="4538241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Barlow Semi-Bold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7002505" y="4421678"/>
            <a:ext cx="4324974" cy="9576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z="1344" spc="43">
              <a:solidFill>
                <a:srgbClr val="FFFFFF"/>
              </a:solidFill>
              <a:latin typeface="Barlow Semi-Bold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FE085C4-0A4D-D525-BEFC-A58C8B262908}"/>
              </a:ext>
            </a:extLst>
          </p:cNvPr>
          <p:cNvCxnSpPr/>
          <p:nvPr/>
        </p:nvCxnSpPr>
        <p:spPr>
          <a:xfrm>
            <a:off x="4516003" y="1366228"/>
            <a:ext cx="1149483" cy="85689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B05664-6AAD-B37F-B42B-F3BE57FF4B64}"/>
              </a:ext>
            </a:extLst>
          </p:cNvPr>
          <p:cNvCxnSpPr>
            <a:cxnSpLocks/>
          </p:cNvCxnSpPr>
          <p:nvPr/>
        </p:nvCxnSpPr>
        <p:spPr>
          <a:xfrm flipV="1">
            <a:off x="4492293" y="843899"/>
            <a:ext cx="1173194" cy="537713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449161" y="4842018"/>
            <a:ext cx="1426731" cy="1284096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 flipV="1">
            <a:off x="4475896" y="4856696"/>
            <a:ext cx="1269798" cy="25426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449160" y="3586696"/>
            <a:ext cx="1283167" cy="1322162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656419" y="2632239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843325" y="-85082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Arial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2544469860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23"/>
    </p:ext>
  </p:extLs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825625"/>
          <a:ext cx="6489148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4A281-746F-C7C8-CF71-ECB6B5CBF987}"/>
              </a:ext>
            </a:extLst>
          </p:cNvPr>
          <p:cNvSpPr/>
          <p:nvPr/>
        </p:nvSpPr>
        <p:spPr>
          <a:xfrm>
            <a:off x="7923068" y="2289512"/>
            <a:ext cx="3565584" cy="35094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QR Code</a:t>
            </a:r>
            <a:endParaRPr lang="en-US" sz="3200"/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07366" y="2296064"/>
            <a:ext cx="914400" cy="91440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6156385" y="2296064"/>
            <a:ext cx="914400" cy="91440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07366" y="4697083"/>
            <a:ext cx="914400" cy="91440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6156385" y="4697083"/>
            <a:ext cx="914400" cy="914400"/>
          </a:xfrm>
          <a:prstGeom prst="rect">
            <a:avLst/>
          </a:prstGeom>
        </p:spPr>
      </p:pic>
      <p:pic>
        <p:nvPicPr>
          <p:cNvPr id="13" name="Picture 1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1010B63-6F0D-6A52-B77E-08080955E50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9972" y="2373872"/>
            <a:ext cx="3324225" cy="3333750"/>
          </a:xfrm>
          <a:prstGeom prst="rect">
            <a:avLst/>
          </a:prstGeom>
        </p:spPr>
      </p:pic>
      <p:sp>
        <p:nvSpPr>
          <p:cNvPr id="27" name="TextBox 45">
            <a:extLst>
              <a:ext uri="{FF2B5EF4-FFF2-40B4-BE49-F238E27FC236}">
                <a16:creationId xmlns:a16="http://schemas.microsoft.com/office/drawing/2014/main" id="{880C80B2-984E-4C91-03F3-2781C2F14BCD}"/>
              </a:ext>
            </a:extLst>
          </p:cNvPr>
          <p:cNvSpPr txBox="1"/>
          <p:nvPr/>
        </p:nvSpPr>
        <p:spPr>
          <a:xfrm>
            <a:off x="532236" y="493269"/>
            <a:ext cx="8968160" cy="10634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0"/>
              </a:lnSpc>
            </a:pPr>
            <a:r>
              <a:rPr lang="en-US" sz="4000" b="1">
                <a:latin typeface="DM Sans"/>
              </a:rPr>
              <a:t>Get to </a:t>
            </a:r>
            <a:r>
              <a:rPr lang="en-US" sz="4000" b="1">
                <a:solidFill>
                  <a:srgbClr val="00B050"/>
                </a:solidFill>
                <a:latin typeface="DM Sans"/>
              </a:rPr>
              <a:t>GREEN:</a:t>
            </a:r>
          </a:p>
          <a:p>
            <a:pPr>
              <a:lnSpc>
                <a:spcPts val="2640"/>
              </a:lnSpc>
            </a:pPr>
            <a:endParaRPr lang="en-US" sz="4000" b="1">
              <a:solidFill>
                <a:srgbClr val="00B050"/>
              </a:solidFill>
              <a:latin typeface="DM Sans"/>
            </a:endParaRPr>
          </a:p>
          <a:p>
            <a:pPr>
              <a:lnSpc>
                <a:spcPts val="2640"/>
              </a:lnSpc>
            </a:pPr>
            <a:r>
              <a:rPr lang="en-US" sz="4000" b="1">
                <a:solidFill>
                  <a:srgbClr val="00B050"/>
                </a:solidFill>
                <a:latin typeface="DM Sans"/>
              </a:rPr>
              <a:t>Education Plan Components</a:t>
            </a:r>
          </a:p>
        </p:txBody>
      </p:sp>
    </p:spTree>
    <p:extLst>
      <p:ext uri="{BB962C8B-B14F-4D97-AF65-F5344CB8AC3E}">
        <p14:creationId xmlns:p14="http://schemas.microsoft.com/office/powerpoint/2010/main" val="28069319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FBB25-E6AC-43E0-018E-68B40B74197A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St. Francis Network: ESSI Teams Signup</a:t>
            </a:r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F79D693-9F7A-A3CB-D374-566F28C11E6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93485" y="1625600"/>
          <a:ext cx="5373685" cy="45713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3086">
                  <a:extLst>
                    <a:ext uri="{9D8B030D-6E8A-4147-A177-3AD203B41FA5}">
                      <a16:colId xmlns:a16="http://schemas.microsoft.com/office/drawing/2014/main" val="2887283103"/>
                    </a:ext>
                  </a:extLst>
                </a:gridCol>
                <a:gridCol w="1280912">
                  <a:extLst>
                    <a:ext uri="{9D8B030D-6E8A-4147-A177-3AD203B41FA5}">
                      <a16:colId xmlns:a16="http://schemas.microsoft.com/office/drawing/2014/main" val="3268401508"/>
                    </a:ext>
                  </a:extLst>
                </a:gridCol>
                <a:gridCol w="1309687">
                  <a:extLst>
                    <a:ext uri="{9D8B030D-6E8A-4147-A177-3AD203B41FA5}">
                      <a16:colId xmlns:a16="http://schemas.microsoft.com/office/drawing/2014/main" val="677218209"/>
                    </a:ext>
                  </a:extLst>
                </a:gridCol>
              </a:tblGrid>
              <a:tr h="73089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>
                          <a:latin typeface="Calibri"/>
                        </a:rPr>
                        <a:t>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Ro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Readiness Surve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2195271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OSF St. Elizabeth Medical Center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5736737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OSF St. James - John W. Albrecht Medical Center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0655328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OSF St. Joseph Medical Center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2522171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OSF St. Mary Medical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889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Genesis Medical Center - Silvis Campus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225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McDonough District Hospital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637213"/>
                  </a:ext>
                </a:extLst>
              </a:tr>
            </a:tbl>
          </a:graphicData>
        </a:graphic>
      </p:graphicFrame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CD362683-C0A7-0C6F-FF3E-E5B0BFB06090}"/>
              </a:ext>
            </a:extLst>
          </p:cNvPr>
          <p:cNvGraphicFramePr>
            <a:graphicFrameLocks/>
          </p:cNvGraphicFramePr>
          <p:nvPr/>
        </p:nvGraphicFramePr>
        <p:xfrm>
          <a:off x="6047081" y="1819123"/>
          <a:ext cx="5796281" cy="41874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1762">
                  <a:extLst>
                    <a:ext uri="{9D8B030D-6E8A-4147-A177-3AD203B41FA5}">
                      <a16:colId xmlns:a16="http://schemas.microsoft.com/office/drawing/2014/main" val="2887283103"/>
                    </a:ext>
                  </a:extLst>
                </a:gridCol>
                <a:gridCol w="871542">
                  <a:extLst>
                    <a:ext uri="{9D8B030D-6E8A-4147-A177-3AD203B41FA5}">
                      <a16:colId xmlns:a16="http://schemas.microsoft.com/office/drawing/2014/main" val="3268401508"/>
                    </a:ext>
                  </a:extLst>
                </a:gridCol>
                <a:gridCol w="1602977">
                  <a:extLst>
                    <a:ext uri="{9D8B030D-6E8A-4147-A177-3AD203B41FA5}">
                      <a16:colId xmlns:a16="http://schemas.microsoft.com/office/drawing/2014/main" val="677218209"/>
                    </a:ext>
                  </a:extLst>
                </a:gridCol>
              </a:tblGrid>
              <a:tr h="6867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>
                          <a:latin typeface="Calibri"/>
                        </a:rPr>
                        <a:t>Hos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Ro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Readiness Surve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2195271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UnityPoint Health Trinity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59222"/>
                  </a:ext>
                </a:extLst>
              </a:tr>
              <a:tr h="56444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Carle BroMenn Medical Center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2925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Graham Hospital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0709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Carle Health Methodist (formerly UnityPoint)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202153"/>
                  </a:ext>
                </a:extLst>
              </a:tr>
              <a:tr h="36688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OSF St. Francis Medical Center (includes Children's Hospital of Illinois - Peoria, OSF)</a:t>
                      </a:r>
                      <a:endParaRPr lang="en-US" sz="180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04311"/>
                  </a:ext>
                </a:extLst>
              </a:tr>
              <a:tr h="36688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solidFill>
                            <a:srgbClr val="000000"/>
                          </a:solidFill>
                        </a:rPr>
                        <a:t>OSF Healthcare Sacred Heart Medical Cent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50561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77859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8606" y="713319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7200">
                <a:solidFill>
                  <a:srgbClr val="1C498B"/>
                </a:solidFill>
                <a:ea typeface="Lato Medium"/>
                <a:cs typeface="Lato Medium"/>
              </a:rPr>
              <a:t>ESSI Launch Award Criteria</a:t>
            </a:r>
            <a:endParaRPr lang="en-US" sz="7200">
              <a:solidFill>
                <a:srgbClr val="1C498B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35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290090" y="1164874"/>
          <a:ext cx="5182228" cy="4686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553656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7EAA3C-34D2-8B69-CB0F-59A51D6396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9CB01-8D8F-54BE-C7AE-A200EBD65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28" y="329727"/>
            <a:ext cx="9151258" cy="1325563"/>
          </a:xfrm>
          <a:noFill/>
        </p:spPr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Upcoming ESSI Calls (3rd Monday, Monthl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5E8FF1-7DE5-A7D0-7B8B-6D75958BAC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1DACA5-339E-4D1C-4AD6-814CC4D96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C10FB90-C65D-4456-26E4-25AEC9F1CEC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61574" y="1903186"/>
          <a:ext cx="10972800" cy="26921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659423"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101637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March 18th, 2024, at 2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Safe Sleep Environment Education and Implementation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828132"/>
                  </a:ext>
                </a:extLst>
              </a:tr>
              <a:tr h="101637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April 15th, 2024, at 2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ESSI Webinar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6370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81528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8BD01-EDBD-BBF4-8924-2173CB4F7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0EAB0-9A5B-02A1-E1CD-2CA415FC6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Promoting Vaginal Birth (PVB):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13179D-5C30-F063-D117-359F15CBA2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2664696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3200">
                <a:solidFill>
                  <a:schemeClr val="accent1">
                    <a:lumMod val="60000"/>
                    <a:lumOff val="40000"/>
                  </a:schemeClr>
                </a:solidFill>
                <a:ea typeface="+mn-lt"/>
                <a:cs typeface="+mn-lt"/>
              </a:rPr>
              <a:t>Continuing the work to finish strong together.</a:t>
            </a:r>
            <a:r>
              <a:rPr lang="en-US" sz="3400">
                <a:ea typeface="+mn-lt"/>
                <a:cs typeface="+mn-lt"/>
              </a:rPr>
              <a:t>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7479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4F7782-24BD-BF1A-6F8F-F1285FEFFC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3600" b="1">
                <a:solidFill>
                  <a:srgbClr val="1C498B"/>
                </a:solidFill>
                <a:ea typeface="Lato"/>
                <a:cs typeface="Calibri"/>
              </a:rPr>
              <a:t>PVB Aims and Measures</a:t>
            </a:r>
            <a:endParaRPr lang="en-US" sz="3600" b="1">
              <a:solidFill>
                <a:srgbClr val="1C498B"/>
              </a:solidFill>
              <a:cs typeface="Calibri"/>
            </a:endParaRPr>
          </a:p>
        </p:txBody>
      </p:sp>
      <p:grpSp>
        <p:nvGrpSpPr>
          <p:cNvPr id="6" name="Group 2">
            <a:extLst>
              <a:ext uri="{FF2B5EF4-FFF2-40B4-BE49-F238E27FC236}">
                <a16:creationId xmlns:a16="http://schemas.microsoft.com/office/drawing/2014/main" id="{E9A46170-E097-E01D-92E5-B0F7C918275D}"/>
              </a:ext>
            </a:extLst>
          </p:cNvPr>
          <p:cNvGrpSpPr/>
          <p:nvPr/>
        </p:nvGrpSpPr>
        <p:grpSpPr>
          <a:xfrm>
            <a:off x="3139230" y="948859"/>
            <a:ext cx="1663233" cy="1663233"/>
            <a:chOff x="0" y="0"/>
            <a:chExt cx="1913890" cy="1913890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B608D418-E240-05E9-5D7A-4134247C666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8" name="Freeform 8">
            <a:extLst>
              <a:ext uri="{FF2B5EF4-FFF2-40B4-BE49-F238E27FC236}">
                <a16:creationId xmlns:a16="http://schemas.microsoft.com/office/drawing/2014/main" id="{1AE3561E-1E6F-E3A0-CD5F-B013DCF553C0}"/>
              </a:ext>
            </a:extLst>
          </p:cNvPr>
          <p:cNvSpPr/>
          <p:nvPr/>
        </p:nvSpPr>
        <p:spPr>
          <a:xfrm>
            <a:off x="3329917" y="1286605"/>
            <a:ext cx="1234997" cy="1176615"/>
          </a:xfrm>
          <a:custGeom>
            <a:avLst/>
            <a:gdLst/>
            <a:ahLst/>
            <a:cxnLst/>
            <a:rect l="l" t="t" r="r" b="b"/>
            <a:pathLst>
              <a:path w="1852496" h="1764923">
                <a:moveTo>
                  <a:pt x="0" y="0"/>
                </a:moveTo>
                <a:lnTo>
                  <a:pt x="1852495" y="0"/>
                </a:lnTo>
                <a:lnTo>
                  <a:pt x="1852495" y="1764924"/>
                </a:lnTo>
                <a:lnTo>
                  <a:pt x="0" y="1764924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1E65DB6-8F8F-4C88-5AB0-CB41D28E0FE7}"/>
              </a:ext>
            </a:extLst>
          </p:cNvPr>
          <p:cNvGrpSpPr/>
          <p:nvPr/>
        </p:nvGrpSpPr>
        <p:grpSpPr>
          <a:xfrm>
            <a:off x="4999227" y="622335"/>
            <a:ext cx="6851017" cy="2202061"/>
            <a:chOff x="0" y="-57150"/>
            <a:chExt cx="1877692" cy="869950"/>
          </a:xfrm>
        </p:grpSpPr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DD42824-9A9F-C841-5C6D-0091498F524B}"/>
                </a:ext>
              </a:extLst>
            </p:cNvPr>
            <p:cNvSpPr/>
            <p:nvPr/>
          </p:nvSpPr>
          <p:spPr>
            <a:xfrm>
              <a:off x="0" y="0"/>
              <a:ext cx="1877692" cy="812800"/>
            </a:xfrm>
            <a:custGeom>
              <a:avLst/>
              <a:gdLst/>
              <a:ahLst/>
              <a:cxnLst/>
              <a:rect l="l" t="t" r="r" b="b"/>
              <a:pathLst>
                <a:path w="1877692" h="812800">
                  <a:moveTo>
                    <a:pt x="55382" y="0"/>
                  </a:moveTo>
                  <a:lnTo>
                    <a:pt x="1822310" y="0"/>
                  </a:lnTo>
                  <a:cubicBezTo>
                    <a:pt x="1852897" y="0"/>
                    <a:pt x="1877692" y="24795"/>
                    <a:pt x="1877692" y="55382"/>
                  </a:cubicBezTo>
                  <a:lnTo>
                    <a:pt x="1877692" y="757418"/>
                  </a:lnTo>
                  <a:cubicBezTo>
                    <a:pt x="1877692" y="772106"/>
                    <a:pt x="1871857" y="786193"/>
                    <a:pt x="1861471" y="796579"/>
                  </a:cubicBezTo>
                  <a:cubicBezTo>
                    <a:pt x="1851085" y="806965"/>
                    <a:pt x="1836998" y="812800"/>
                    <a:pt x="1822310" y="812800"/>
                  </a:cubicBezTo>
                  <a:lnTo>
                    <a:pt x="55382" y="812800"/>
                  </a:lnTo>
                  <a:cubicBezTo>
                    <a:pt x="24795" y="812800"/>
                    <a:pt x="0" y="788005"/>
                    <a:pt x="0" y="757418"/>
                  </a:cubicBezTo>
                  <a:lnTo>
                    <a:pt x="0" y="55382"/>
                  </a:lnTo>
                  <a:cubicBezTo>
                    <a:pt x="0" y="24795"/>
                    <a:pt x="24795" y="0"/>
                    <a:pt x="55382" y="0"/>
                  </a:cubicBezTo>
                  <a:close/>
                </a:path>
              </a:pathLst>
            </a:custGeom>
            <a:solidFill>
              <a:srgbClr val="FDE17F">
                <a:alpha val="40000"/>
              </a:srgbClr>
            </a:solidFill>
          </p:spPr>
        </p:sp>
        <p:sp>
          <p:nvSpPr>
            <p:cNvPr id="11" name="TextBox 13">
              <a:extLst>
                <a:ext uri="{FF2B5EF4-FFF2-40B4-BE49-F238E27FC236}">
                  <a16:creationId xmlns:a16="http://schemas.microsoft.com/office/drawing/2014/main" id="{E5A8093A-3EEE-4B79-1159-DB170FFAC09B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14" name="TextBox 17">
            <a:extLst>
              <a:ext uri="{FF2B5EF4-FFF2-40B4-BE49-F238E27FC236}">
                <a16:creationId xmlns:a16="http://schemas.microsoft.com/office/drawing/2014/main" id="{E1D55E7F-098F-A89F-FA80-9A8C4284B873}"/>
              </a:ext>
            </a:extLst>
          </p:cNvPr>
          <p:cNvSpPr txBox="1"/>
          <p:nvPr/>
        </p:nvSpPr>
        <p:spPr>
          <a:xfrm>
            <a:off x="5357164" y="1145447"/>
            <a:ext cx="6139851" cy="139454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Hospitals will be at or below the Health People 2023 Goal of 23.6% NTSV C-section Rate</a:t>
            </a:r>
            <a:endParaRPr lang="en-US" sz="2650">
              <a:solidFill>
                <a:srgbClr val="444C55"/>
              </a:solidFill>
              <a:latin typeface="Calibri" panose="020F0502020204030204"/>
            </a:endParaRP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F9378E17-6322-6A14-F207-AF86455B45D8}"/>
              </a:ext>
            </a:extLst>
          </p:cNvPr>
          <p:cNvGrpSpPr/>
          <p:nvPr/>
        </p:nvGrpSpPr>
        <p:grpSpPr>
          <a:xfrm>
            <a:off x="3289230" y="4060046"/>
            <a:ext cx="1207795" cy="1207795"/>
            <a:chOff x="0" y="0"/>
            <a:chExt cx="1913890" cy="1913890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28667A89-EB9D-9656-C1B4-A66008629215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grpSp>
        <p:nvGrpSpPr>
          <p:cNvPr id="20" name="Group 6">
            <a:extLst>
              <a:ext uri="{FF2B5EF4-FFF2-40B4-BE49-F238E27FC236}">
                <a16:creationId xmlns:a16="http://schemas.microsoft.com/office/drawing/2014/main" id="{2222A735-9083-C872-7FAC-180D5DF83706}"/>
              </a:ext>
            </a:extLst>
          </p:cNvPr>
          <p:cNvGrpSpPr/>
          <p:nvPr/>
        </p:nvGrpSpPr>
        <p:grpSpPr>
          <a:xfrm>
            <a:off x="7712144" y="4057580"/>
            <a:ext cx="1207795" cy="1207795"/>
            <a:chOff x="0" y="0"/>
            <a:chExt cx="1913890" cy="1913890"/>
          </a:xfrm>
        </p:grpSpPr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AFB4827-CF57-D4BB-109A-B6C0F20D6AA8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</p:sp>
      </p:grpSp>
      <p:sp>
        <p:nvSpPr>
          <p:cNvPr id="22" name="Freeform 9">
            <a:extLst>
              <a:ext uri="{FF2B5EF4-FFF2-40B4-BE49-F238E27FC236}">
                <a16:creationId xmlns:a16="http://schemas.microsoft.com/office/drawing/2014/main" id="{2923DB60-A72F-C5BF-D955-A3572B2B6B47}"/>
              </a:ext>
            </a:extLst>
          </p:cNvPr>
          <p:cNvSpPr/>
          <p:nvPr/>
        </p:nvSpPr>
        <p:spPr>
          <a:xfrm>
            <a:off x="3452830" y="4254360"/>
            <a:ext cx="880592" cy="880592"/>
          </a:xfrm>
          <a:custGeom>
            <a:avLst/>
            <a:gdLst/>
            <a:ahLst/>
            <a:cxnLst/>
            <a:rect l="l" t="t" r="r" b="b"/>
            <a:pathLst>
              <a:path w="1320888" h="1320888">
                <a:moveTo>
                  <a:pt x="0" y="0"/>
                </a:moveTo>
                <a:lnTo>
                  <a:pt x="1320888" y="0"/>
                </a:lnTo>
                <a:lnTo>
                  <a:pt x="1320888" y="1320889"/>
                </a:lnTo>
                <a:lnTo>
                  <a:pt x="0" y="132088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8A8B6E06-376E-3207-174C-36360842E5E7}"/>
              </a:ext>
            </a:extLst>
          </p:cNvPr>
          <p:cNvSpPr/>
          <p:nvPr/>
        </p:nvSpPr>
        <p:spPr>
          <a:xfrm>
            <a:off x="7855811" y="4255158"/>
            <a:ext cx="920460" cy="770885"/>
          </a:xfrm>
          <a:custGeom>
            <a:avLst/>
            <a:gdLst/>
            <a:ahLst/>
            <a:cxnLst/>
            <a:rect l="l" t="t" r="r" b="b"/>
            <a:pathLst>
              <a:path w="1380690" h="1156328">
                <a:moveTo>
                  <a:pt x="0" y="0"/>
                </a:moveTo>
                <a:lnTo>
                  <a:pt x="1380690" y="0"/>
                </a:lnTo>
                <a:lnTo>
                  <a:pt x="1380690" y="1156328"/>
                </a:lnTo>
                <a:lnTo>
                  <a:pt x="0" y="1156328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grpSp>
        <p:nvGrpSpPr>
          <p:cNvPr id="28" name="Group 14">
            <a:extLst>
              <a:ext uri="{FF2B5EF4-FFF2-40B4-BE49-F238E27FC236}">
                <a16:creationId xmlns:a16="http://schemas.microsoft.com/office/drawing/2014/main" id="{BB6BB1CB-16CC-EDAE-4DD2-0CCD3E4CF189}"/>
              </a:ext>
            </a:extLst>
          </p:cNvPr>
          <p:cNvGrpSpPr/>
          <p:nvPr/>
        </p:nvGrpSpPr>
        <p:grpSpPr>
          <a:xfrm>
            <a:off x="4620805" y="3346979"/>
            <a:ext cx="2902936" cy="2964060"/>
            <a:chOff x="0" y="-57150"/>
            <a:chExt cx="1361276" cy="869950"/>
          </a:xfrm>
        </p:grpSpPr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9962AB74-A206-B7CE-0CE5-133121F4DC8F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819FEB">
                <a:alpha val="49804"/>
              </a:srgbClr>
            </a:solidFill>
          </p:spPr>
        </p:sp>
        <p:sp>
          <p:nvSpPr>
            <p:cNvPr id="27" name="TextBox 16">
              <a:extLst>
                <a:ext uri="{FF2B5EF4-FFF2-40B4-BE49-F238E27FC236}">
                  <a16:creationId xmlns:a16="http://schemas.microsoft.com/office/drawing/2014/main" id="{73979A58-94B9-EEAF-D517-259AE0B30D99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  <p:sp>
        <p:nvSpPr>
          <p:cNvPr id="30" name="TextBox 18">
            <a:extLst>
              <a:ext uri="{FF2B5EF4-FFF2-40B4-BE49-F238E27FC236}">
                <a16:creationId xmlns:a16="http://schemas.microsoft.com/office/drawing/2014/main" id="{A1F99CAA-6313-4B1A-A5FC-19F0C122CFC7}"/>
              </a:ext>
            </a:extLst>
          </p:cNvPr>
          <p:cNvSpPr txBox="1"/>
          <p:nvPr/>
        </p:nvSpPr>
        <p:spPr>
          <a:xfrm>
            <a:off x="4701365" y="3760348"/>
            <a:ext cx="2640019" cy="18690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50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50">
                <a:solidFill>
                  <a:srgbClr val="000000"/>
                </a:solidFill>
                <a:latin typeface="Agrandir Narrow"/>
              </a:rPr>
              <a:t>70% of NTSV C-sections meet ACOG/SMFM Criteria</a:t>
            </a:r>
          </a:p>
        </p:txBody>
      </p:sp>
      <p:sp>
        <p:nvSpPr>
          <p:cNvPr id="32" name="TextBox 22">
            <a:extLst>
              <a:ext uri="{FF2B5EF4-FFF2-40B4-BE49-F238E27FC236}">
                <a16:creationId xmlns:a16="http://schemas.microsoft.com/office/drawing/2014/main" id="{6460B53A-A68F-F54B-203C-C80A81DBDCBE}"/>
              </a:ext>
            </a:extLst>
          </p:cNvPr>
          <p:cNvSpPr txBox="1"/>
          <p:nvPr/>
        </p:nvSpPr>
        <p:spPr>
          <a:xfrm>
            <a:off x="9184790" y="3761571"/>
            <a:ext cx="2624170" cy="18696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914446">
              <a:lnSpc>
                <a:spcPts val="3734"/>
              </a:lnSpc>
            </a:pPr>
            <a:r>
              <a:rPr lang="en-US" sz="2666" u="sng">
                <a:solidFill>
                  <a:srgbClr val="000000"/>
                </a:solidFill>
                <a:latin typeface="Agrandir Narrow"/>
              </a:rPr>
              <a:t>&gt;</a:t>
            </a:r>
            <a:r>
              <a:rPr lang="en-US" sz="2666">
                <a:solidFill>
                  <a:srgbClr val="000000"/>
                </a:solidFill>
                <a:latin typeface="Agrandir Narrow"/>
              </a:rPr>
              <a:t>80% of physicians, midwives and nurses educated</a:t>
            </a:r>
          </a:p>
        </p:txBody>
      </p:sp>
      <p:grpSp>
        <p:nvGrpSpPr>
          <p:cNvPr id="36" name="Group 19">
            <a:extLst>
              <a:ext uri="{FF2B5EF4-FFF2-40B4-BE49-F238E27FC236}">
                <a16:creationId xmlns:a16="http://schemas.microsoft.com/office/drawing/2014/main" id="{22E07871-6C34-15D0-2FFD-4483B3AEBF94}"/>
              </a:ext>
            </a:extLst>
          </p:cNvPr>
          <p:cNvGrpSpPr/>
          <p:nvPr/>
        </p:nvGrpSpPr>
        <p:grpSpPr>
          <a:xfrm>
            <a:off x="9046669" y="3342207"/>
            <a:ext cx="2902935" cy="2964060"/>
            <a:chOff x="0" y="-57150"/>
            <a:chExt cx="1361276" cy="869950"/>
          </a:xfrm>
        </p:grpSpPr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50D1215-6396-B480-2523-B6D9F382F57E}"/>
                </a:ext>
              </a:extLst>
            </p:cNvPr>
            <p:cNvSpPr/>
            <p:nvPr/>
          </p:nvSpPr>
          <p:spPr>
            <a:xfrm>
              <a:off x="0" y="0"/>
              <a:ext cx="1361276" cy="655970"/>
            </a:xfrm>
            <a:custGeom>
              <a:avLst/>
              <a:gdLst/>
              <a:ahLst/>
              <a:cxnLst/>
              <a:rect l="l" t="t" r="r" b="b"/>
              <a:pathLst>
                <a:path w="1361276" h="655970">
                  <a:moveTo>
                    <a:pt x="76392" y="0"/>
                  </a:moveTo>
                  <a:lnTo>
                    <a:pt x="1284884" y="0"/>
                  </a:lnTo>
                  <a:cubicBezTo>
                    <a:pt x="1327074" y="0"/>
                    <a:pt x="1361276" y="34202"/>
                    <a:pt x="1361276" y="76392"/>
                  </a:cubicBezTo>
                  <a:lnTo>
                    <a:pt x="1361276" y="579578"/>
                  </a:lnTo>
                  <a:cubicBezTo>
                    <a:pt x="1361276" y="599838"/>
                    <a:pt x="1353227" y="619269"/>
                    <a:pt x="1338901" y="633595"/>
                  </a:cubicBezTo>
                  <a:cubicBezTo>
                    <a:pt x="1324575" y="647921"/>
                    <a:pt x="1305144" y="655970"/>
                    <a:pt x="1284884" y="655970"/>
                  </a:cubicBezTo>
                  <a:lnTo>
                    <a:pt x="76392" y="655970"/>
                  </a:lnTo>
                  <a:cubicBezTo>
                    <a:pt x="56131" y="655970"/>
                    <a:pt x="36701" y="647921"/>
                    <a:pt x="22375" y="633595"/>
                  </a:cubicBezTo>
                  <a:cubicBezTo>
                    <a:pt x="8048" y="619269"/>
                    <a:pt x="0" y="599838"/>
                    <a:pt x="0" y="579578"/>
                  </a:cubicBezTo>
                  <a:lnTo>
                    <a:pt x="0" y="76392"/>
                  </a:lnTo>
                  <a:cubicBezTo>
                    <a:pt x="0" y="56131"/>
                    <a:pt x="8048" y="36701"/>
                    <a:pt x="22375" y="22375"/>
                  </a:cubicBezTo>
                  <a:cubicBezTo>
                    <a:pt x="36701" y="8048"/>
                    <a:pt x="56131" y="0"/>
                    <a:pt x="76392" y="0"/>
                  </a:cubicBezTo>
                  <a:close/>
                </a:path>
              </a:pathLst>
            </a:custGeom>
            <a:solidFill>
              <a:srgbClr val="E432BD">
                <a:alpha val="28627"/>
              </a:srgbClr>
            </a:solidFill>
          </p:spPr>
        </p:sp>
        <p:sp>
          <p:nvSpPr>
            <p:cNvPr id="35" name="TextBox 21">
              <a:extLst>
                <a:ext uri="{FF2B5EF4-FFF2-40B4-BE49-F238E27FC236}">
                  <a16:creationId xmlns:a16="http://schemas.microsoft.com/office/drawing/2014/main" id="{2C141276-A79F-0100-E534-C8A47B578EFD}"/>
                </a:ext>
              </a:extLst>
            </p:cNvPr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914446">
                <a:lnSpc>
                  <a:spcPts val="2239"/>
                </a:lnSpc>
              </a:pPr>
              <a:endParaRPr sz="800">
                <a:solidFill>
                  <a:srgbClr val="444C55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83706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BB63CD-05AB-A1ED-6A96-4EC7B74F1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NTSV C-Section Rate</a:t>
            </a:r>
            <a:endParaRPr lang="en-US"/>
          </a:p>
        </p:txBody>
      </p:sp>
      <p:pic>
        <p:nvPicPr>
          <p:cNvPr id="6" name="Content Placeholder 5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D4F4AD07-0B37-1DEB-0A3A-6FB1329C73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35869" y="1860550"/>
            <a:ext cx="9220200" cy="43053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9BF57B-C40F-3EBE-0101-3708174837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6C1C6B-11FA-A298-D7CF-4E84C3696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5518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09600" y="149386"/>
            <a:ext cx="8087708" cy="1325563"/>
          </a:xfrm>
          <a:noFill/>
        </p:spPr>
        <p:txBody>
          <a:bodyPr>
            <a:normAutofit/>
          </a:bodyPr>
          <a:lstStyle/>
          <a:p>
            <a:r>
              <a:rPr lang="en-US">
                <a:ea typeface="Lato Medium"/>
                <a:cs typeface="Lato Medium"/>
              </a:rPr>
              <a:t>ILPQC Initiatives &amp;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Hospital Engagement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944477" y="5314848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5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985870" y="5330637"/>
            <a:ext cx="1023820" cy="7963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6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040642" y="5333429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7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159038" y="5330636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9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836227" y="5330636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4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793462" y="4261574"/>
            <a:ext cx="1072085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arly Elective Delive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9 team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798264" y="3240837"/>
            <a:ext cx="1072085" cy="918360"/>
          </a:xfrm>
          <a:prstGeom prst="roundRect">
            <a:avLst/>
          </a:prstGeom>
          <a:solidFill>
            <a:srgbClr val="F58466"/>
          </a:solidFill>
          <a:ln>
            <a:solidFill>
              <a:srgbClr val="F58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onatal Nutri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 teams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950667" y="3240837"/>
            <a:ext cx="3120082" cy="918360"/>
          </a:xfrm>
          <a:prstGeom prst="roundRect">
            <a:avLst/>
          </a:prstGeom>
          <a:solidFill>
            <a:srgbClr val="F58466"/>
          </a:solidFill>
          <a:ln>
            <a:solidFill>
              <a:srgbClr val="F58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lden Ho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 Team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1950667" y="4261574"/>
            <a:ext cx="1057147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rth Cert Accurac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7 team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3065171" y="4261574"/>
            <a:ext cx="1979579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ternal Hyperten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2 Team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118243" y="4261574"/>
            <a:ext cx="3105411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thers and Newborns affected by Opioids (MNO) – Obstetr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1 Team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38277" y="3240837"/>
            <a:ext cx="3085377" cy="918360"/>
          </a:xfrm>
          <a:prstGeom prst="roundRect">
            <a:avLst/>
          </a:prstGeom>
          <a:solidFill>
            <a:srgbClr val="F58466"/>
          </a:solidFill>
          <a:ln>
            <a:solidFill>
              <a:srgbClr val="F58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thers and Newborns affected by Opioids (MNO) – Neonat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8 Team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132662" y="2220100"/>
            <a:ext cx="3090992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ediate Postpartum Long Acting Reversible Contraception (LARC)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6088422" y="1199363"/>
            <a:ext cx="2135232" cy="91836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ing Postpartum Access to Care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8311524" y="4261696"/>
            <a:ext cx="3498259" cy="918360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moting</a:t>
            </a:r>
            <a:r>
              <a:rPr kumimoji="0" lang="en-US" sz="1400" b="0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aginal Birth (PVB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4 teams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240181" y="5330635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>
                <a:cs typeface="Calibri"/>
              </a:rPr>
              <a:t>2020</a:t>
            </a:r>
            <a:endParaRPr lang="en-US" sz="2250"/>
          </a:p>
        </p:txBody>
      </p:sp>
      <p:sp>
        <p:nvSpPr>
          <p:cNvPr id="40" name="Rounded Rectangle 39"/>
          <p:cNvSpPr/>
          <p:nvPr/>
        </p:nvSpPr>
        <p:spPr>
          <a:xfrm>
            <a:off x="8308295" y="3238984"/>
            <a:ext cx="2565658" cy="918360"/>
          </a:xfrm>
          <a:prstGeom prst="roundRect">
            <a:avLst/>
          </a:prstGeom>
          <a:solidFill>
            <a:srgbClr val="F58466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FFFFFF"/>
                </a:solidFill>
                <a:latin typeface="Arial" panose="020B0604020202020204"/>
              </a:rPr>
              <a:t>Babies Antibiotic Stewardship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BASIC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2 teams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8304385" y="5330634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21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8322302" y="2213025"/>
            <a:ext cx="3748928" cy="918360"/>
          </a:xfrm>
          <a:prstGeom prst="roundRect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rth Equ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6 teams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9330274" y="5330633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22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10392787" y="5321723"/>
            <a:ext cx="951933" cy="7977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23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10924749" y="3253361"/>
            <a:ext cx="1154810" cy="918360"/>
          </a:xfrm>
          <a:prstGeom prst="roundRect">
            <a:avLst/>
          </a:prstGeom>
          <a:solidFill>
            <a:srgbClr val="F58466"/>
          </a:solid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en-US" sz="1400">
                <a:solidFill>
                  <a:srgbClr val="FFFFFF"/>
                </a:solidFill>
                <a:latin typeface="Arial" panose="020B0604020202020204"/>
              </a:rPr>
              <a:t>Equity and Safe Sleep for Infants</a:t>
            </a:r>
          </a:p>
          <a:p>
            <a:pPr algn="ctr">
              <a:defRPr/>
            </a:pPr>
            <a:r>
              <a:rPr lang="en-US" sz="1400">
                <a:solidFill>
                  <a:srgbClr val="FFFFFF"/>
                </a:solidFill>
                <a:latin typeface="Arial" panose="020B0604020202020204"/>
                <a:cs typeface="Arial"/>
              </a:rPr>
              <a:t>2024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106956" y="5330632"/>
            <a:ext cx="1023820" cy="8121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18</a:t>
            </a:r>
          </a:p>
        </p:txBody>
      </p:sp>
      <p:sp>
        <p:nvSpPr>
          <p:cNvPr id="56" name="Rounded Rectangle 55"/>
          <p:cNvSpPr/>
          <p:nvPr/>
        </p:nvSpPr>
        <p:spPr>
          <a:xfrm>
            <a:off x="836227" y="1639592"/>
            <a:ext cx="1072085" cy="812493"/>
          </a:xfrm>
          <a:prstGeom prst="roundRect">
            <a:avLst/>
          </a:prstGeom>
          <a:solidFill>
            <a:srgbClr val="F58466"/>
          </a:solidFill>
          <a:ln>
            <a:solidFill>
              <a:srgbClr val="F584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onatal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1967346" y="1639592"/>
            <a:ext cx="1128813" cy="812493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stetric</a:t>
            </a:r>
          </a:p>
        </p:txBody>
      </p:sp>
      <p:sp>
        <p:nvSpPr>
          <p:cNvPr id="6" name="Rounded Rectangle 49">
            <a:extLst>
              <a:ext uri="{FF2B5EF4-FFF2-40B4-BE49-F238E27FC236}">
                <a16:creationId xmlns:a16="http://schemas.microsoft.com/office/drawing/2014/main" id="{F3ED7E25-23C5-287B-B515-4829C0FF9664}"/>
              </a:ext>
            </a:extLst>
          </p:cNvPr>
          <p:cNvSpPr/>
          <p:nvPr/>
        </p:nvSpPr>
        <p:spPr>
          <a:xfrm>
            <a:off x="11341693" y="5321723"/>
            <a:ext cx="851292" cy="7977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t"/>
          <a:lstStyle/>
          <a:p>
            <a:pPr algn="ctr"/>
            <a:r>
              <a:rPr lang="en-US" sz="2250"/>
              <a:t>2024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794203" y="5253574"/>
            <a:ext cx="11400520" cy="1390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35395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3AB462E-B427-E199-60BF-1D5D94536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44" y="140273"/>
            <a:ext cx="10972800" cy="1325563"/>
          </a:xfrm>
        </p:spPr>
        <p:txBody>
          <a:bodyPr/>
          <a:lstStyle/>
          <a:p>
            <a:r>
              <a:rPr lang="en-US"/>
              <a:t>Crossing the Finish Line with PVB in 2024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4183177C-9D92-DA12-8836-603957646F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3086474"/>
              </p:ext>
            </p:extLst>
          </p:nvPr>
        </p:nvGraphicFramePr>
        <p:xfrm>
          <a:off x="1899667" y="1321385"/>
          <a:ext cx="8756016" cy="4555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7260641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65721" y="2856687"/>
            <a:ext cx="3240633" cy="3253099"/>
            <a:chOff x="0" y="-38100"/>
            <a:chExt cx="812800" cy="8509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4545344" y="2851559"/>
            <a:ext cx="3255010" cy="3238722"/>
            <a:chOff x="0" y="-38100"/>
            <a:chExt cx="812800" cy="8509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933" y="0"/>
                  </a:moveTo>
                  <a:lnTo>
                    <a:pt x="770867" y="0"/>
                  </a:lnTo>
                  <a:cubicBezTo>
                    <a:pt x="781988" y="0"/>
                    <a:pt x="792654" y="4418"/>
                    <a:pt x="800518" y="12282"/>
                  </a:cubicBezTo>
                  <a:cubicBezTo>
                    <a:pt x="808382" y="20146"/>
                    <a:pt x="812800" y="30812"/>
                    <a:pt x="812800" y="41933"/>
                  </a:cubicBezTo>
                  <a:lnTo>
                    <a:pt x="812800" y="770867"/>
                  </a:lnTo>
                  <a:cubicBezTo>
                    <a:pt x="812800" y="781988"/>
                    <a:pt x="808382" y="792654"/>
                    <a:pt x="800518" y="800518"/>
                  </a:cubicBezTo>
                  <a:cubicBezTo>
                    <a:pt x="792654" y="808382"/>
                    <a:pt x="781988" y="812800"/>
                    <a:pt x="770867" y="812800"/>
                  </a:cubicBezTo>
                  <a:lnTo>
                    <a:pt x="41933" y="812800"/>
                  </a:lnTo>
                  <a:cubicBezTo>
                    <a:pt x="30812" y="812800"/>
                    <a:pt x="20146" y="808382"/>
                    <a:pt x="12282" y="800518"/>
                  </a:cubicBezTo>
                  <a:cubicBezTo>
                    <a:pt x="4418" y="792654"/>
                    <a:pt x="0" y="781988"/>
                    <a:pt x="0" y="770867"/>
                  </a:cubicBezTo>
                  <a:lnTo>
                    <a:pt x="0" y="41933"/>
                  </a:lnTo>
                  <a:cubicBezTo>
                    <a:pt x="0" y="30812"/>
                    <a:pt x="4418" y="20146"/>
                    <a:pt x="12282" y="12282"/>
                  </a:cubicBezTo>
                  <a:cubicBezTo>
                    <a:pt x="20146" y="4418"/>
                    <a:pt x="30812" y="0"/>
                    <a:pt x="41933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7986CB"/>
              </a:solidFill>
              <a:prstDash val="solid"/>
              <a:miter/>
            </a:ln>
          </p:spPr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064534" y="2854999"/>
            <a:ext cx="3249105" cy="3248113"/>
            <a:chOff x="0" y="-38100"/>
            <a:chExt cx="812800" cy="8509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1014" y="0"/>
                  </a:moveTo>
                  <a:lnTo>
                    <a:pt x="771786" y="0"/>
                  </a:lnTo>
                  <a:cubicBezTo>
                    <a:pt x="794437" y="0"/>
                    <a:pt x="812800" y="18363"/>
                    <a:pt x="812800" y="41014"/>
                  </a:cubicBezTo>
                  <a:lnTo>
                    <a:pt x="812800" y="771786"/>
                  </a:lnTo>
                  <a:cubicBezTo>
                    <a:pt x="812800" y="794437"/>
                    <a:pt x="794437" y="812800"/>
                    <a:pt x="771786" y="812800"/>
                  </a:cubicBezTo>
                  <a:lnTo>
                    <a:pt x="41014" y="812800"/>
                  </a:lnTo>
                  <a:cubicBezTo>
                    <a:pt x="18363" y="812800"/>
                    <a:pt x="0" y="794437"/>
                    <a:pt x="0" y="771786"/>
                  </a:cubicBezTo>
                  <a:lnTo>
                    <a:pt x="0" y="41014"/>
                  </a:lnTo>
                  <a:cubicBezTo>
                    <a:pt x="0" y="18363"/>
                    <a:pt x="18363" y="0"/>
                    <a:pt x="41014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6D79B7"/>
              </a:solidFill>
              <a:prstDash val="solid"/>
              <a:miter/>
            </a:ln>
          </p:spPr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1772231" y="3218335"/>
            <a:ext cx="1829902" cy="1353482"/>
            <a:chOff x="0" y="-38100"/>
            <a:chExt cx="518754" cy="370942"/>
          </a:xfrm>
        </p:grpSpPr>
        <p:sp>
          <p:nvSpPr>
            <p:cNvPr id="12" name="Freeform 12"/>
            <p:cNvSpPr/>
            <p:nvPr/>
          </p:nvSpPr>
          <p:spPr>
            <a:xfrm>
              <a:off x="52660" y="-9752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5338473" y="3175462"/>
            <a:ext cx="1656037" cy="1353483"/>
            <a:chOff x="0" y="-38100"/>
            <a:chExt cx="466094" cy="370942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3125" y="0"/>
                  </a:moveTo>
                  <a:lnTo>
                    <a:pt x="392969" y="0"/>
                  </a:lnTo>
                  <a:cubicBezTo>
                    <a:pt x="433355" y="0"/>
                    <a:pt x="466094" y="32739"/>
                    <a:pt x="466094" y="73125"/>
                  </a:cubicBezTo>
                  <a:lnTo>
                    <a:pt x="466094" y="259717"/>
                  </a:lnTo>
                  <a:cubicBezTo>
                    <a:pt x="466094" y="300103"/>
                    <a:pt x="433355" y="332842"/>
                    <a:pt x="392969" y="332842"/>
                  </a:cubicBezTo>
                  <a:lnTo>
                    <a:pt x="73125" y="332842"/>
                  </a:lnTo>
                  <a:cubicBezTo>
                    <a:pt x="32739" y="332842"/>
                    <a:pt x="0" y="300103"/>
                    <a:pt x="0" y="259717"/>
                  </a:cubicBezTo>
                  <a:lnTo>
                    <a:pt x="0" y="73125"/>
                  </a:lnTo>
                  <a:cubicBezTo>
                    <a:pt x="0" y="32739"/>
                    <a:pt x="32739" y="0"/>
                    <a:pt x="73125" y="0"/>
                  </a:cubicBezTo>
                  <a:close/>
                </a:path>
              </a:pathLst>
            </a:custGeom>
            <a:solidFill>
              <a:srgbClr val="7986CB"/>
            </a:solidFill>
          </p:spPr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8978176" y="3327739"/>
            <a:ext cx="1543903" cy="1145666"/>
            <a:chOff x="0" y="0"/>
            <a:chExt cx="466094" cy="332842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466094" cy="332842"/>
            </a:xfrm>
            <a:custGeom>
              <a:avLst/>
              <a:gdLst/>
              <a:ahLst/>
              <a:cxnLst/>
              <a:rect l="l" t="t" r="r" b="b"/>
              <a:pathLst>
                <a:path w="466094" h="332842">
                  <a:moveTo>
                    <a:pt x="71522" y="0"/>
                  </a:moveTo>
                  <a:lnTo>
                    <a:pt x="394572" y="0"/>
                  </a:lnTo>
                  <a:cubicBezTo>
                    <a:pt x="413541" y="0"/>
                    <a:pt x="431733" y="7535"/>
                    <a:pt x="445146" y="20948"/>
                  </a:cubicBezTo>
                  <a:cubicBezTo>
                    <a:pt x="458559" y="34361"/>
                    <a:pt x="466094" y="52553"/>
                    <a:pt x="466094" y="71522"/>
                  </a:cubicBezTo>
                  <a:lnTo>
                    <a:pt x="466094" y="261320"/>
                  </a:lnTo>
                  <a:cubicBezTo>
                    <a:pt x="466094" y="300821"/>
                    <a:pt x="434072" y="332842"/>
                    <a:pt x="394572" y="332842"/>
                  </a:cubicBezTo>
                  <a:lnTo>
                    <a:pt x="71522" y="332842"/>
                  </a:lnTo>
                  <a:cubicBezTo>
                    <a:pt x="52553" y="332842"/>
                    <a:pt x="34361" y="325307"/>
                    <a:pt x="20948" y="311894"/>
                  </a:cubicBezTo>
                  <a:cubicBezTo>
                    <a:pt x="7535" y="298481"/>
                    <a:pt x="0" y="280289"/>
                    <a:pt x="0" y="261320"/>
                  </a:cubicBezTo>
                  <a:lnTo>
                    <a:pt x="0" y="71522"/>
                  </a:lnTo>
                  <a:cubicBezTo>
                    <a:pt x="0" y="52553"/>
                    <a:pt x="7535" y="34361"/>
                    <a:pt x="20948" y="20948"/>
                  </a:cubicBezTo>
                  <a:cubicBezTo>
                    <a:pt x="34361" y="7535"/>
                    <a:pt x="52553" y="0"/>
                    <a:pt x="71522" y="0"/>
                  </a:cubicBezTo>
                  <a:close/>
                </a:path>
              </a:pathLst>
            </a:custGeom>
            <a:solidFill>
              <a:srgbClr val="6D79B7"/>
            </a:solidFill>
          </p:spPr>
        </p:sp>
        <p:sp>
          <p:nvSpPr>
            <p:cNvPr id="19" name="TextBox 19"/>
            <p:cNvSpPr txBox="1"/>
            <p:nvPr/>
          </p:nvSpPr>
          <p:spPr>
            <a:xfrm>
              <a:off x="0" y="-38100"/>
              <a:ext cx="466094" cy="3709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6" name="TextBox 26"/>
          <p:cNvSpPr txBox="1"/>
          <p:nvPr/>
        </p:nvSpPr>
        <p:spPr>
          <a:xfrm>
            <a:off x="1104264" y="-596778"/>
            <a:ext cx="1112150" cy="1192353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99"/>
              </a:lnSpc>
            </a:pPr>
            <a:endParaRPr sz="800"/>
          </a:p>
        </p:txBody>
      </p:sp>
      <p:grpSp>
        <p:nvGrpSpPr>
          <p:cNvPr id="27" name="Group 27"/>
          <p:cNvGrpSpPr/>
          <p:nvPr/>
        </p:nvGrpSpPr>
        <p:grpSpPr>
          <a:xfrm>
            <a:off x="11607800" y="-390900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4" name="Freeform 34"/>
          <p:cNvSpPr/>
          <p:nvPr/>
        </p:nvSpPr>
        <p:spPr>
          <a:xfrm>
            <a:off x="5726442" y="3468743"/>
            <a:ext cx="891922" cy="850168"/>
          </a:xfrm>
          <a:custGeom>
            <a:avLst/>
            <a:gdLst/>
            <a:ahLst/>
            <a:cxnLst/>
            <a:rect l="l" t="t" r="r" b="b"/>
            <a:pathLst>
              <a:path w="1087364" h="1087364">
                <a:moveTo>
                  <a:pt x="0" y="0"/>
                </a:moveTo>
                <a:lnTo>
                  <a:pt x="1087365" y="0"/>
                </a:lnTo>
                <a:lnTo>
                  <a:pt x="1087365" y="1087365"/>
                </a:lnTo>
                <a:lnTo>
                  <a:pt x="0" y="10873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35" name="Freeform 35"/>
          <p:cNvSpPr/>
          <p:nvPr/>
        </p:nvSpPr>
        <p:spPr>
          <a:xfrm>
            <a:off x="2316183" y="3556764"/>
            <a:ext cx="887072" cy="876633"/>
          </a:xfrm>
          <a:custGeom>
            <a:avLst/>
            <a:gdLst/>
            <a:ahLst/>
            <a:cxnLst/>
            <a:rect l="l" t="t" r="r" b="b"/>
            <a:pathLst>
              <a:path w="1111404" h="1111404">
                <a:moveTo>
                  <a:pt x="0" y="0"/>
                </a:moveTo>
                <a:lnTo>
                  <a:pt x="1111403" y="0"/>
                </a:lnTo>
                <a:lnTo>
                  <a:pt x="1111403" y="1111404"/>
                </a:lnTo>
                <a:lnTo>
                  <a:pt x="0" y="1111404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9238054" y="3473710"/>
            <a:ext cx="1017845" cy="885219"/>
          </a:xfrm>
          <a:custGeom>
            <a:avLst/>
            <a:gdLst/>
            <a:ahLst/>
            <a:cxnLst/>
            <a:rect l="l" t="t" r="r" b="b"/>
            <a:pathLst>
              <a:path w="1354536" h="1186912">
                <a:moveTo>
                  <a:pt x="0" y="0"/>
                </a:moveTo>
                <a:lnTo>
                  <a:pt x="1354536" y="0"/>
                </a:lnTo>
                <a:lnTo>
                  <a:pt x="1354536" y="1186911"/>
                </a:lnTo>
                <a:lnTo>
                  <a:pt x="0" y="118691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7" name="TextBox 37"/>
          <p:cNvSpPr txBox="1"/>
          <p:nvPr/>
        </p:nvSpPr>
        <p:spPr>
          <a:xfrm>
            <a:off x="1535554" y="5006346"/>
            <a:ext cx="2441126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819FEB"/>
                </a:solidFill>
                <a:latin typeface="Barlow Semi-Bold"/>
              </a:rPr>
              <a:t>Compliance Monitoring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5343937" y="5009003"/>
            <a:ext cx="1646677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36"/>
              </a:lnSpc>
              <a:spcBef>
                <a:spcPct val="0"/>
              </a:spcBef>
            </a:pPr>
            <a:r>
              <a:rPr lang="en-US" sz="2200" b="1" spc="55">
                <a:solidFill>
                  <a:srgbClr val="7986CB"/>
                </a:solidFill>
                <a:latin typeface="Barlow Semi-Bold"/>
              </a:rPr>
              <a:t>New Hire Education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411148" y="4846968"/>
            <a:ext cx="2671460" cy="6412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 algn="ctr">
              <a:lnSpc>
                <a:spcPts val="2491"/>
              </a:lnSpc>
              <a:spcBef>
                <a:spcPct val="0"/>
              </a:spcBef>
            </a:pPr>
            <a:r>
              <a:rPr lang="en-US" sz="2200" b="1" spc="57">
                <a:solidFill>
                  <a:srgbClr val="6D79B7"/>
                </a:solidFill>
                <a:latin typeface="Barlow Semi-Bold"/>
              </a:rPr>
              <a:t>Ongoing Provider and Nurse Education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1420243" y="1811585"/>
            <a:ext cx="9619538" cy="6782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599"/>
              </a:lnSpc>
              <a:spcBef>
                <a:spcPct val="0"/>
              </a:spcBef>
            </a:pPr>
            <a:r>
              <a:rPr lang="en-US" sz="2600" spc="90">
                <a:solidFill>
                  <a:schemeClr val="accent1"/>
                </a:solidFill>
                <a:latin typeface="Barlow SemiCondensed"/>
              </a:rPr>
              <a:t>Sustainability planning is vital to maintain all the incredible progress PVB teams have made over the last 3 years</a:t>
            </a:r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B2F9EAA4-6826-602C-FE2A-906692CE8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769" y="465766"/>
            <a:ext cx="8126083" cy="1339940"/>
          </a:xfrm>
        </p:spPr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Components of PVB Sustainability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7326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16200000">
            <a:off x="2574592" y="791601"/>
            <a:ext cx="1888391" cy="4159061"/>
            <a:chOff x="0" y="0"/>
            <a:chExt cx="635000" cy="153537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819FEB"/>
              </a:solidFill>
              <a:prstDash val="solid"/>
              <a:miter/>
            </a:ln>
          </p:spPr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 rot="16200000">
            <a:off x="2453942" y="690001"/>
            <a:ext cx="1888391" cy="4159061"/>
            <a:chOff x="0" y="0"/>
            <a:chExt cx="635000" cy="1535372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743319" y="2248434"/>
            <a:ext cx="1003198" cy="1003198"/>
            <a:chOff x="0" y="0"/>
            <a:chExt cx="495300" cy="4953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819FEB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11" name="TextBox 11"/>
          <p:cNvSpPr txBox="1"/>
          <p:nvPr/>
        </p:nvSpPr>
        <p:spPr>
          <a:xfrm>
            <a:off x="1580850" y="2027592"/>
            <a:ext cx="3336797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Plan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883810" y="2528635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819FEB"/>
                </a:solidFill>
                <a:latin typeface="Barlow Bold"/>
              </a:rPr>
              <a:t>01</a:t>
            </a:r>
          </a:p>
        </p:txBody>
      </p:sp>
      <p:grpSp>
        <p:nvGrpSpPr>
          <p:cNvPr id="13" name="Group 13"/>
          <p:cNvGrpSpPr/>
          <p:nvPr/>
        </p:nvGrpSpPr>
        <p:grpSpPr>
          <a:xfrm rot="16200000">
            <a:off x="8379894" y="643080"/>
            <a:ext cx="1825761" cy="4476981"/>
            <a:chOff x="0" y="-38100"/>
            <a:chExt cx="635000" cy="1569989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0CC0DF"/>
              </a:solidFill>
              <a:prstDash val="solid"/>
              <a:miter/>
            </a:ln>
          </p:spPr>
        </p:sp>
        <p:sp>
          <p:nvSpPr>
            <p:cNvPr id="15" name="TextBox 15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6" name="Group 16"/>
          <p:cNvGrpSpPr/>
          <p:nvPr/>
        </p:nvGrpSpPr>
        <p:grpSpPr>
          <a:xfrm rot="16200000">
            <a:off x="8421790" y="2919456"/>
            <a:ext cx="1815322" cy="4466307"/>
            <a:chOff x="0" y="-38100"/>
            <a:chExt cx="635000" cy="1569989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13257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 rot="16200000">
            <a:off x="8230249" y="566126"/>
            <a:ext cx="1867513" cy="4427693"/>
            <a:chOff x="0" y="-38100"/>
            <a:chExt cx="635000" cy="1569989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22" name="Group 22"/>
          <p:cNvGrpSpPr>
            <a:grpSpLocks noChangeAspect="1"/>
          </p:cNvGrpSpPr>
          <p:nvPr/>
        </p:nvGrpSpPr>
        <p:grpSpPr>
          <a:xfrm>
            <a:off x="6360404" y="2227556"/>
            <a:ext cx="1003198" cy="1003198"/>
            <a:chOff x="0" y="0"/>
            <a:chExt cx="495300" cy="495300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0CC0DF"/>
            </a:solidFill>
          </p:spPr>
        </p:sp>
        <p:sp>
          <p:nvSpPr>
            <p:cNvPr id="24" name="Freeform 24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25" name="TextBox 25"/>
          <p:cNvSpPr txBox="1"/>
          <p:nvPr/>
        </p:nvSpPr>
        <p:spPr>
          <a:xfrm>
            <a:off x="7341859" y="2056348"/>
            <a:ext cx="3535126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tratified Data Review</a:t>
            </a:r>
          </a:p>
        </p:txBody>
      </p:sp>
      <p:sp>
        <p:nvSpPr>
          <p:cNvPr id="26" name="TextBox 26"/>
          <p:cNvSpPr txBox="1"/>
          <p:nvPr/>
        </p:nvSpPr>
        <p:spPr>
          <a:xfrm>
            <a:off x="7425366" y="2405469"/>
            <a:ext cx="3649948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9"/>
              </a:lnSpc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Review your data by race, ethnicity and insurance status and take action on disparities ​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6553087" y="250775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0CC0DF"/>
                </a:solidFill>
                <a:latin typeface="Barlow Bold"/>
              </a:rPr>
              <a:t>03</a:t>
            </a:r>
            <a:endParaRPr lang="en-US" sz="2843" spc="119">
              <a:solidFill>
                <a:srgbClr val="0CC0DF"/>
              </a:solidFill>
              <a:latin typeface="Barlow Bold"/>
            </a:endParaRPr>
          </a:p>
        </p:txBody>
      </p:sp>
      <p:grpSp>
        <p:nvGrpSpPr>
          <p:cNvPr id="28" name="Group 28"/>
          <p:cNvGrpSpPr/>
          <p:nvPr/>
        </p:nvGrpSpPr>
        <p:grpSpPr>
          <a:xfrm rot="16200000">
            <a:off x="2646914" y="2920280"/>
            <a:ext cx="1825761" cy="4391590"/>
            <a:chOff x="0" y="-38100"/>
            <a:chExt cx="635000" cy="1569989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FFFFFF"/>
            </a:solidFill>
            <a:ln w="47625" cap="sq">
              <a:solidFill>
                <a:srgbClr val="419CAA"/>
              </a:solidFill>
              <a:prstDash val="solid"/>
              <a:miter/>
            </a:ln>
          </p:spPr>
        </p:sp>
        <p:sp>
          <p:nvSpPr>
            <p:cNvPr id="30" name="TextBox 30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1" name="Group 31"/>
          <p:cNvGrpSpPr/>
          <p:nvPr/>
        </p:nvGrpSpPr>
        <p:grpSpPr>
          <a:xfrm rot="16200000">
            <a:off x="2526264" y="2789955"/>
            <a:ext cx="1825761" cy="4391590"/>
            <a:chOff x="0" y="-38100"/>
            <a:chExt cx="635000" cy="1569989"/>
          </a:xfrm>
        </p:grpSpPr>
        <p:sp>
          <p:nvSpPr>
            <p:cNvPr id="32" name="Freeform 32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3" name="TextBox 33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34" name="Group 34"/>
          <p:cNvGrpSpPr>
            <a:grpSpLocks noChangeAspect="1"/>
          </p:cNvGrpSpPr>
          <p:nvPr/>
        </p:nvGrpSpPr>
        <p:grpSpPr>
          <a:xfrm>
            <a:off x="753757" y="4506405"/>
            <a:ext cx="1003198" cy="1003198"/>
            <a:chOff x="0" y="0"/>
            <a:chExt cx="495300" cy="495300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419CAA"/>
            </a:solidFill>
          </p:spPr>
        </p:sp>
        <p:sp>
          <p:nvSpPr>
            <p:cNvPr id="36" name="Freeform 36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37" name="TextBox 37"/>
          <p:cNvSpPr txBox="1"/>
          <p:nvPr/>
        </p:nvSpPr>
        <p:spPr>
          <a:xfrm>
            <a:off x="1583916" y="4262827"/>
            <a:ext cx="3834490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Sustainability Webinars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1851460" y="4713239"/>
            <a:ext cx="3140635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Attend Quarterly Sustainability Webinar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883810" y="4776168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43" spc="119">
                <a:solidFill>
                  <a:srgbClr val="419CAA"/>
                </a:solidFill>
                <a:latin typeface="Barlow Bold"/>
              </a:rPr>
              <a:t>02</a:t>
            </a:r>
          </a:p>
        </p:txBody>
      </p:sp>
      <p:grpSp>
        <p:nvGrpSpPr>
          <p:cNvPr id="40" name="Group 40"/>
          <p:cNvGrpSpPr/>
          <p:nvPr/>
        </p:nvGrpSpPr>
        <p:grpSpPr>
          <a:xfrm rot="16200000">
            <a:off x="8278061" y="2789131"/>
            <a:ext cx="1815322" cy="4466307"/>
            <a:chOff x="0" y="-38100"/>
            <a:chExt cx="635000" cy="1569989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635000" cy="1531889"/>
            </a:xfrm>
            <a:custGeom>
              <a:avLst/>
              <a:gdLst/>
              <a:ahLst/>
              <a:cxnLst/>
              <a:rect l="l" t="t" r="r" b="b"/>
              <a:pathLst>
                <a:path w="635000" h="1531889">
                  <a:moveTo>
                    <a:pt x="635000" y="29073"/>
                  </a:moveTo>
                  <a:lnTo>
                    <a:pt x="635000" y="1391999"/>
                  </a:lnTo>
                  <a:cubicBezTo>
                    <a:pt x="635000" y="1409442"/>
                    <a:pt x="624058" y="1425011"/>
                    <a:pt x="607646" y="1430919"/>
                  </a:cubicBezTo>
                  <a:lnTo>
                    <a:pt x="344854" y="1525524"/>
                  </a:lnTo>
                  <a:cubicBezTo>
                    <a:pt x="327173" y="1531889"/>
                    <a:pt x="307827" y="1531889"/>
                    <a:pt x="290146" y="1525524"/>
                  </a:cubicBezTo>
                  <a:lnTo>
                    <a:pt x="27354" y="1430919"/>
                  </a:lnTo>
                  <a:cubicBezTo>
                    <a:pt x="10942" y="1425011"/>
                    <a:pt x="0" y="1409442"/>
                    <a:pt x="0" y="1391999"/>
                  </a:cubicBezTo>
                  <a:lnTo>
                    <a:pt x="0" y="29073"/>
                  </a:lnTo>
                  <a:cubicBezTo>
                    <a:pt x="0" y="21362"/>
                    <a:pt x="3063" y="13967"/>
                    <a:pt x="8515" y="8515"/>
                  </a:cubicBezTo>
                  <a:cubicBezTo>
                    <a:pt x="13967" y="3063"/>
                    <a:pt x="21362" y="0"/>
                    <a:pt x="29073" y="0"/>
                  </a:cubicBezTo>
                  <a:lnTo>
                    <a:pt x="605927" y="0"/>
                  </a:lnTo>
                  <a:cubicBezTo>
                    <a:pt x="613638" y="0"/>
                    <a:pt x="621033" y="3063"/>
                    <a:pt x="626485" y="8515"/>
                  </a:cubicBezTo>
                  <a:cubicBezTo>
                    <a:pt x="631937" y="13967"/>
                    <a:pt x="635000" y="21362"/>
                    <a:pt x="635000" y="29073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2" name="TextBox 42"/>
            <p:cNvSpPr txBox="1"/>
            <p:nvPr/>
          </p:nvSpPr>
          <p:spPr>
            <a:xfrm>
              <a:off x="0" y="-38100"/>
              <a:ext cx="635000" cy="1459172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>
            <a:grpSpLocks noChangeAspect="1"/>
          </p:cNvGrpSpPr>
          <p:nvPr/>
        </p:nvGrpSpPr>
        <p:grpSpPr>
          <a:xfrm>
            <a:off x="6454350" y="4527281"/>
            <a:ext cx="1003198" cy="1003198"/>
            <a:chOff x="0" y="0"/>
            <a:chExt cx="495300" cy="495300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495300" cy="495300"/>
            </a:xfrm>
            <a:custGeom>
              <a:avLst/>
              <a:gdLst/>
              <a:ahLst/>
              <a:cxnLst/>
              <a:rect l="l" t="t" r="r" b="b"/>
              <a:pathLst>
                <a:path w="495300" h="495300">
                  <a:moveTo>
                    <a:pt x="247650" y="0"/>
                  </a:moveTo>
                  <a:cubicBezTo>
                    <a:pt x="110490" y="0"/>
                    <a:pt x="0" y="110490"/>
                    <a:pt x="0" y="247650"/>
                  </a:cubicBezTo>
                  <a:cubicBezTo>
                    <a:pt x="0" y="384810"/>
                    <a:pt x="110490" y="495300"/>
                    <a:pt x="247650" y="495300"/>
                  </a:cubicBezTo>
                  <a:cubicBezTo>
                    <a:pt x="383540" y="495300"/>
                    <a:pt x="495300" y="384810"/>
                    <a:pt x="495300" y="247650"/>
                  </a:cubicBezTo>
                  <a:cubicBezTo>
                    <a:pt x="495300" y="110490"/>
                    <a:pt x="383540" y="0"/>
                    <a:pt x="247650" y="0"/>
                  </a:cubicBezTo>
                  <a:close/>
                  <a:moveTo>
                    <a:pt x="247650" y="457200"/>
                  </a:moveTo>
                  <a:cubicBezTo>
                    <a:pt x="132080" y="457200"/>
                    <a:pt x="38100" y="363220"/>
                    <a:pt x="38100" y="247650"/>
                  </a:cubicBezTo>
                  <a:cubicBezTo>
                    <a:pt x="38100" y="132080"/>
                    <a:pt x="132080" y="38100"/>
                    <a:pt x="247650" y="38100"/>
                  </a:cubicBezTo>
                  <a:cubicBezTo>
                    <a:pt x="363220" y="38100"/>
                    <a:pt x="457200" y="132080"/>
                    <a:pt x="457200" y="247650"/>
                  </a:cubicBezTo>
                  <a:cubicBezTo>
                    <a:pt x="457200" y="363220"/>
                    <a:pt x="363220" y="457200"/>
                    <a:pt x="247650" y="457200"/>
                  </a:cubicBezTo>
                  <a:close/>
                </a:path>
              </a:pathLst>
            </a:custGeom>
            <a:solidFill>
              <a:srgbClr val="132572"/>
            </a:solidFill>
          </p:spPr>
        </p:sp>
        <p:sp>
          <p:nvSpPr>
            <p:cNvPr id="45" name="Freeform 45"/>
            <p:cNvSpPr/>
            <p:nvPr/>
          </p:nvSpPr>
          <p:spPr>
            <a:xfrm>
              <a:off x="38100" y="38100"/>
              <a:ext cx="419100" cy="419100"/>
            </a:xfrm>
            <a:custGeom>
              <a:avLst/>
              <a:gdLst/>
              <a:ahLst/>
              <a:cxnLst/>
              <a:rect l="l" t="t" r="r" b="b"/>
              <a:pathLst>
                <a:path w="419100" h="419100">
                  <a:moveTo>
                    <a:pt x="209550" y="0"/>
                  </a:moveTo>
                  <a:cubicBezTo>
                    <a:pt x="93980" y="0"/>
                    <a:pt x="0" y="93980"/>
                    <a:pt x="0" y="209550"/>
                  </a:cubicBezTo>
                  <a:cubicBezTo>
                    <a:pt x="0" y="325120"/>
                    <a:pt x="93980" y="419100"/>
                    <a:pt x="209550" y="419100"/>
                  </a:cubicBezTo>
                  <a:cubicBezTo>
                    <a:pt x="325120" y="419100"/>
                    <a:pt x="419100" y="325120"/>
                    <a:pt x="419100" y="209550"/>
                  </a:cubicBezTo>
                  <a:cubicBezTo>
                    <a:pt x="419100" y="93980"/>
                    <a:pt x="325120" y="0"/>
                    <a:pt x="209550" y="0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46" name="TextBox 46"/>
          <p:cNvSpPr txBox="1"/>
          <p:nvPr/>
        </p:nvSpPr>
        <p:spPr>
          <a:xfrm>
            <a:off x="7386023" y="4294543"/>
            <a:ext cx="3503811" cy="29283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169"/>
              </a:lnSpc>
              <a:spcBef>
                <a:spcPct val="0"/>
              </a:spcBef>
            </a:pPr>
            <a:r>
              <a:rPr lang="en-US" sz="2400" b="1" spc="49">
                <a:solidFill>
                  <a:srgbClr val="FFFFFF"/>
                </a:solidFill>
                <a:latin typeface="Barlow Semi-Bold"/>
              </a:rPr>
              <a:t>Team Sharing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7494347" y="4713998"/>
            <a:ext cx="3497461" cy="884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Share successful strategies for sustaining PVB work on quarterly calls 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6647032" y="4786607"/>
            <a:ext cx="614089" cy="457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81"/>
              </a:lnSpc>
            </a:pPr>
            <a:r>
              <a:rPr lang="en-US" sz="2800" spc="119">
                <a:solidFill>
                  <a:srgbClr val="132572"/>
                </a:solidFill>
                <a:latin typeface="Barlow Bold"/>
              </a:rPr>
              <a:t>04</a:t>
            </a:r>
            <a:endParaRPr lang="en-US" sz="2843" spc="119">
              <a:solidFill>
                <a:srgbClr val="132572"/>
              </a:solidFill>
              <a:latin typeface="Barlow Bold"/>
            </a:endParaRPr>
          </a:p>
        </p:txBody>
      </p:sp>
      <p:sp>
        <p:nvSpPr>
          <p:cNvPr id="60" name="TextBox 60"/>
          <p:cNvSpPr txBox="1"/>
          <p:nvPr/>
        </p:nvSpPr>
        <p:spPr>
          <a:xfrm>
            <a:off x="1759495" y="2376714"/>
            <a:ext cx="3592025" cy="11798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91"/>
              </a:lnSpc>
              <a:spcBef>
                <a:spcPct val="0"/>
              </a:spcBef>
            </a:pPr>
            <a:r>
              <a:rPr lang="en-US" sz="2000" spc="79">
                <a:solidFill>
                  <a:srgbClr val="FFFFFF"/>
                </a:solidFill>
                <a:latin typeface="Barlow SemiCondensed"/>
              </a:rPr>
              <a:t>Meet with your PVB QI team to draft your sustainability plan and submit to ILPQC and your PNA</a:t>
            </a:r>
          </a:p>
        </p:txBody>
      </p:sp>
      <p:sp>
        <p:nvSpPr>
          <p:cNvPr id="61" name="Title 60">
            <a:extLst>
              <a:ext uri="{FF2B5EF4-FFF2-40B4-BE49-F238E27FC236}">
                <a16:creationId xmlns:a16="http://schemas.microsoft.com/office/drawing/2014/main" id="{B558532D-77AA-D7D7-F518-07AE563D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52" y="103398"/>
            <a:ext cx="7204062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PVB Teams moving to sustainability in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2138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>
            <a:off x="2177839" y="1558360"/>
            <a:ext cx="8980018" cy="1556079"/>
            <a:chOff x="0" y="-38100"/>
            <a:chExt cx="1712688" cy="47959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668F"/>
              </a:solidFill>
              <a:prstDash val="solid"/>
              <a:miter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2466523" y="1872164"/>
            <a:ext cx="999395" cy="1046242"/>
            <a:chOff x="0" y="-38100"/>
            <a:chExt cx="812800" cy="8509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668F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9" name="Group 9"/>
          <p:cNvGrpSpPr/>
          <p:nvPr/>
        </p:nvGrpSpPr>
        <p:grpSpPr>
          <a:xfrm>
            <a:off x="2174235" y="3311601"/>
            <a:ext cx="8980017" cy="1446839"/>
            <a:chOff x="0" y="0"/>
            <a:chExt cx="1712688" cy="441495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58366"/>
              </a:solidFill>
              <a:prstDash val="solid"/>
              <a:miter/>
            </a:ln>
          </p:spPr>
        </p:sp>
        <p:sp>
          <p:nvSpPr>
            <p:cNvPr id="11" name="TextBox 11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2466524" y="3472451"/>
            <a:ext cx="999395" cy="999395"/>
            <a:chOff x="0" y="0"/>
            <a:chExt cx="812800" cy="8128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58366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5" name="Freeform 15"/>
          <p:cNvSpPr/>
          <p:nvPr/>
        </p:nvSpPr>
        <p:spPr>
          <a:xfrm>
            <a:off x="2645268" y="3741928"/>
            <a:ext cx="526888" cy="546706"/>
          </a:xfrm>
          <a:custGeom>
            <a:avLst/>
            <a:gdLst/>
            <a:ahLst/>
            <a:cxnLst/>
            <a:rect l="l" t="t" r="r" b="b"/>
            <a:pathLst>
              <a:path w="790332" h="820059">
                <a:moveTo>
                  <a:pt x="0" y="0"/>
                </a:moveTo>
                <a:lnTo>
                  <a:pt x="790332" y="0"/>
                </a:lnTo>
                <a:lnTo>
                  <a:pt x="790332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grpSp>
        <p:nvGrpSpPr>
          <p:cNvPr id="16" name="Group 16"/>
          <p:cNvGrpSpPr/>
          <p:nvPr/>
        </p:nvGrpSpPr>
        <p:grpSpPr>
          <a:xfrm>
            <a:off x="2174236" y="4883299"/>
            <a:ext cx="8980016" cy="1446838"/>
            <a:chOff x="0" y="0"/>
            <a:chExt cx="1712688" cy="441495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712688" cy="441495"/>
            </a:xfrm>
            <a:custGeom>
              <a:avLst/>
              <a:gdLst/>
              <a:ahLst/>
              <a:cxnLst/>
              <a:rect l="l" t="t" r="r" b="b"/>
              <a:pathLst>
                <a:path w="1712688" h="441495">
                  <a:moveTo>
                    <a:pt x="17195" y="0"/>
                  </a:moveTo>
                  <a:lnTo>
                    <a:pt x="1695492" y="0"/>
                  </a:lnTo>
                  <a:cubicBezTo>
                    <a:pt x="1704989" y="0"/>
                    <a:pt x="1712688" y="7699"/>
                    <a:pt x="1712688" y="17195"/>
                  </a:cubicBezTo>
                  <a:lnTo>
                    <a:pt x="1712688" y="424300"/>
                  </a:lnTo>
                  <a:cubicBezTo>
                    <a:pt x="1712688" y="433796"/>
                    <a:pt x="1704989" y="441495"/>
                    <a:pt x="1695492" y="441495"/>
                  </a:cubicBezTo>
                  <a:lnTo>
                    <a:pt x="17195" y="441495"/>
                  </a:lnTo>
                  <a:cubicBezTo>
                    <a:pt x="7699" y="441495"/>
                    <a:pt x="0" y="433796"/>
                    <a:pt x="0" y="424300"/>
                  </a:cubicBezTo>
                  <a:lnTo>
                    <a:pt x="0" y="17195"/>
                  </a:lnTo>
                  <a:cubicBezTo>
                    <a:pt x="0" y="7699"/>
                    <a:pt x="7699" y="0"/>
                    <a:pt x="17195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FFD032"/>
              </a:solidFill>
              <a:prstDash val="solid"/>
              <a:miter/>
            </a:ln>
          </p:spPr>
        </p:sp>
        <p:sp>
          <p:nvSpPr>
            <p:cNvPr id="18" name="TextBox 18"/>
            <p:cNvSpPr txBox="1"/>
            <p:nvPr/>
          </p:nvSpPr>
          <p:spPr>
            <a:xfrm>
              <a:off x="0" y="-38100"/>
              <a:ext cx="1712688" cy="47959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2466523" y="5077337"/>
            <a:ext cx="999395" cy="999395"/>
            <a:chOff x="0" y="0"/>
            <a:chExt cx="812800" cy="812800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77466" y="0"/>
                  </a:moveTo>
                  <a:lnTo>
                    <a:pt x="735334" y="0"/>
                  </a:lnTo>
                  <a:cubicBezTo>
                    <a:pt x="755879" y="0"/>
                    <a:pt x="775583" y="8162"/>
                    <a:pt x="790111" y="22689"/>
                  </a:cubicBezTo>
                  <a:cubicBezTo>
                    <a:pt x="804638" y="37217"/>
                    <a:pt x="812800" y="56921"/>
                    <a:pt x="812800" y="77466"/>
                  </a:cubicBezTo>
                  <a:lnTo>
                    <a:pt x="812800" y="735334"/>
                  </a:lnTo>
                  <a:cubicBezTo>
                    <a:pt x="812800" y="755879"/>
                    <a:pt x="804638" y="775583"/>
                    <a:pt x="790111" y="790111"/>
                  </a:cubicBezTo>
                  <a:cubicBezTo>
                    <a:pt x="775583" y="804638"/>
                    <a:pt x="755879" y="812800"/>
                    <a:pt x="735334" y="812800"/>
                  </a:cubicBezTo>
                  <a:lnTo>
                    <a:pt x="77466" y="812800"/>
                  </a:lnTo>
                  <a:cubicBezTo>
                    <a:pt x="56921" y="812800"/>
                    <a:pt x="37217" y="804638"/>
                    <a:pt x="22689" y="790111"/>
                  </a:cubicBezTo>
                  <a:cubicBezTo>
                    <a:pt x="8162" y="775583"/>
                    <a:pt x="0" y="755879"/>
                    <a:pt x="0" y="735334"/>
                  </a:cubicBezTo>
                  <a:lnTo>
                    <a:pt x="0" y="77466"/>
                  </a:lnTo>
                  <a:cubicBezTo>
                    <a:pt x="0" y="56921"/>
                    <a:pt x="8162" y="37217"/>
                    <a:pt x="22689" y="22689"/>
                  </a:cubicBezTo>
                  <a:cubicBezTo>
                    <a:pt x="37217" y="8162"/>
                    <a:pt x="56921" y="0"/>
                    <a:pt x="77466" y="0"/>
                  </a:cubicBezTo>
                  <a:close/>
                </a:path>
              </a:pathLst>
            </a:custGeom>
            <a:solidFill>
              <a:srgbClr val="FFD032"/>
            </a:solidFill>
          </p:spPr>
        </p:sp>
        <p:sp>
          <p:nvSpPr>
            <p:cNvPr id="21" name="TextBox 21"/>
            <p:cNvSpPr txBox="1"/>
            <p:nvPr/>
          </p:nvSpPr>
          <p:spPr>
            <a:xfrm>
              <a:off x="0" y="-38100"/>
              <a:ext cx="812800" cy="850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22" name="Freeform 22"/>
          <p:cNvSpPr/>
          <p:nvPr/>
        </p:nvSpPr>
        <p:spPr>
          <a:xfrm>
            <a:off x="2682586" y="5303682"/>
            <a:ext cx="567269" cy="546706"/>
          </a:xfrm>
          <a:custGeom>
            <a:avLst/>
            <a:gdLst/>
            <a:ahLst/>
            <a:cxnLst/>
            <a:rect l="l" t="t" r="r" b="b"/>
            <a:pathLst>
              <a:path w="850904" h="820059">
                <a:moveTo>
                  <a:pt x="0" y="0"/>
                </a:moveTo>
                <a:lnTo>
                  <a:pt x="850904" y="0"/>
                </a:lnTo>
                <a:lnTo>
                  <a:pt x="850904" y="820059"/>
                </a:lnTo>
                <a:lnTo>
                  <a:pt x="0" y="820059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</p:sp>
      <p:sp>
        <p:nvSpPr>
          <p:cNvPr id="36" name="Freeform 36"/>
          <p:cNvSpPr/>
          <p:nvPr/>
        </p:nvSpPr>
        <p:spPr>
          <a:xfrm>
            <a:off x="2569010" y="2106371"/>
            <a:ext cx="794422" cy="620642"/>
          </a:xfrm>
          <a:custGeom>
            <a:avLst/>
            <a:gdLst/>
            <a:ahLst/>
            <a:cxnLst/>
            <a:rect l="l" t="t" r="r" b="b"/>
            <a:pathLst>
              <a:path w="1191633" h="930963">
                <a:moveTo>
                  <a:pt x="0" y="0"/>
                </a:moveTo>
                <a:lnTo>
                  <a:pt x="1191634" y="0"/>
                </a:lnTo>
                <a:lnTo>
                  <a:pt x="1191634" y="930964"/>
                </a:lnTo>
                <a:lnTo>
                  <a:pt x="0" y="930964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a:blipFill>
        </p:spPr>
      </p:sp>
      <p:sp>
        <p:nvSpPr>
          <p:cNvPr id="38" name="TextBox 38"/>
          <p:cNvSpPr txBox="1"/>
          <p:nvPr/>
        </p:nvSpPr>
        <p:spPr>
          <a:xfrm>
            <a:off x="3812414" y="1811437"/>
            <a:ext cx="5125005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>
                <a:solidFill>
                  <a:srgbClr val="000000"/>
                </a:solidFill>
                <a:latin typeface="Barlow Semi-Bold"/>
              </a:rPr>
              <a:t>Quarterly Small Group Coaching Calls 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3812414" y="2172278"/>
            <a:ext cx="7341838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>
                <a:solidFill>
                  <a:srgbClr val="000000"/>
                </a:solidFill>
                <a:latin typeface="Barlow SemiCondensed"/>
              </a:rPr>
              <a:t>OB and nursing champions will lead coaching calls with 4-5 teams each quarter where teams share their successes, barriers and strategies and learn from one another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3812414" y="3424946"/>
            <a:ext cx="4930662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>
                <a:solidFill>
                  <a:srgbClr val="000000"/>
                </a:solidFill>
                <a:latin typeface="Barlow Semi-Bold"/>
              </a:rPr>
              <a:t>Key Players Meeting for your Hospital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3808478" y="3740094"/>
            <a:ext cx="7131666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>
                <a:solidFill>
                  <a:srgbClr val="000000"/>
                </a:solidFill>
                <a:latin typeface="Barlow SemiCondensed"/>
              </a:rPr>
              <a:t>ILPQC will facilitate a meeting for each hospital to bring together hospital, obstetric and nursing leadership to review strategies and establish plan to achieve PVB goals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3812414" y="5002456"/>
            <a:ext cx="3888553" cy="30816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2453"/>
              </a:lnSpc>
              <a:spcBef>
                <a:spcPct val="0"/>
              </a:spcBef>
            </a:pPr>
            <a:r>
              <a:rPr lang="en-US" sz="2000" b="1" spc="56">
                <a:solidFill>
                  <a:srgbClr val="000000"/>
                </a:solidFill>
                <a:latin typeface="Barlow Semi-Bold"/>
              </a:rPr>
              <a:t>Individual</a:t>
            </a:r>
            <a:r>
              <a:rPr lang="en-US" sz="1750" b="1" spc="56">
                <a:solidFill>
                  <a:srgbClr val="000000"/>
                </a:solidFill>
                <a:latin typeface="Barlow Semi-Bold"/>
              </a:rPr>
              <a:t> </a:t>
            </a:r>
            <a:r>
              <a:rPr lang="en-US" sz="2000" b="1" spc="56">
                <a:solidFill>
                  <a:srgbClr val="000000"/>
                </a:solidFill>
                <a:latin typeface="Barlow Semi-Bold"/>
              </a:rPr>
              <a:t>Outreach</a:t>
            </a:r>
            <a:endParaRPr lang="en-US" sz="1750" b="1" spc="56">
              <a:solidFill>
                <a:srgbClr val="000000"/>
              </a:solidFill>
              <a:latin typeface="Barlow Semi-Bold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3812415" y="5330801"/>
            <a:ext cx="7127729" cy="846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50"/>
              </a:lnSpc>
              <a:spcBef>
                <a:spcPct val="0"/>
              </a:spcBef>
            </a:pPr>
            <a:r>
              <a:rPr lang="en-US" sz="2000" spc="74">
                <a:solidFill>
                  <a:srgbClr val="000000"/>
                </a:solidFill>
                <a:latin typeface="Barlow SemiCondensed"/>
              </a:rPr>
              <a:t>Quarterly QI Support and 1-1 meetings for teams to discuss specific strategies; ILPQC will provide support and feedback at OB Provider Meeting or Grand Rounds </a:t>
            </a:r>
          </a:p>
        </p:txBody>
      </p:sp>
      <p:sp>
        <p:nvSpPr>
          <p:cNvPr id="45" name="Title 44">
            <a:extLst>
              <a:ext uri="{FF2B5EF4-FFF2-40B4-BE49-F238E27FC236}">
                <a16:creationId xmlns:a16="http://schemas.microsoft.com/office/drawing/2014/main" id="{DCCAC132-08DC-730A-5C29-9F39DFC96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48" y="82159"/>
            <a:ext cx="7657638" cy="1336001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PVB teams continuing to work towards NTSV C-section goals in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674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B4878F-0400-AE7C-3EEE-62994307E9E4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St. Francis Network Assignments</a:t>
            </a:r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A77166E-2DEA-18B6-9D40-352B79C312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0461619"/>
              </p:ext>
            </p:extLst>
          </p:nvPr>
        </p:nvGraphicFramePr>
        <p:xfrm>
          <a:off x="529682" y="1747024"/>
          <a:ext cx="11164634" cy="4237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4064">
                  <a:extLst>
                    <a:ext uri="{9D8B030D-6E8A-4147-A177-3AD203B41FA5}">
                      <a16:colId xmlns:a16="http://schemas.microsoft.com/office/drawing/2014/main" val="1074423418"/>
                    </a:ext>
                  </a:extLst>
                </a:gridCol>
                <a:gridCol w="5280570">
                  <a:extLst>
                    <a:ext uri="{9D8B030D-6E8A-4147-A177-3AD203B41FA5}">
                      <a16:colId xmlns:a16="http://schemas.microsoft.com/office/drawing/2014/main" val="386341989"/>
                    </a:ext>
                  </a:extLst>
                </a:gridCol>
              </a:tblGrid>
              <a:tr h="934165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Hospitals Moving to Sustain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Hospitals Invited to Coach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7759933"/>
                  </a:ext>
                </a:extLst>
              </a:tr>
              <a:tr h="3303297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Carle BroMenn Medical Center</a:t>
                      </a:r>
                      <a:endParaRPr lang="en-US"/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McDonough District Hospital</a:t>
                      </a:r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UPH Methodist Medical Center</a:t>
                      </a:r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OSF St. Elizabeth Medical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OSF St. Francis Medical Center</a:t>
                      </a:r>
                      <a:endParaRPr lang="en-US"/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Carle Foundation Hospital</a:t>
                      </a:r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r>
                        <a:rPr lang="en-US" sz="2400"/>
                        <a:t>Unity Point Trinity</a:t>
                      </a:r>
                    </a:p>
                    <a:p>
                      <a:pPr marL="285750" lvl="0" indent="-285750">
                        <a:spcBef>
                          <a:spcPts val="1000"/>
                        </a:spcBef>
                        <a:buFont typeface="Arial"/>
                        <a:buChar char="•"/>
                      </a:pPr>
                      <a:endParaRPr lang="en-US" sz="2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1216946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0B8AB8-534C-0183-48B2-054A44BD3A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8A966-389D-72D7-2A07-B2EB9D8394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12372070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3"/>
    </p:ext>
  </p:extLs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738936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Upcoming PVB Calls</a:t>
            </a:r>
            <a:endParaRPr lang="en-US">
              <a:solidFill>
                <a:srgbClr val="F37150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11115966"/>
              </p:ext>
            </p:extLst>
          </p:nvPr>
        </p:nvGraphicFramePr>
        <p:xfrm>
          <a:off x="621205" y="2140887"/>
          <a:ext cx="10972800" cy="3384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861985"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79872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April 29th, 202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VB sustainability Webin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4064444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July 22nd,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PVB sustainability Webinar</a:t>
                      </a: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 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November 25th,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VB Sustainability Webin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068911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31585-888F-0107-E78B-CD3615B1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224276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7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6" descr="Colleagues huddle">
            <a:extLst>
              <a:ext uri="{FF2B5EF4-FFF2-40B4-BE49-F238E27FC236}">
                <a16:creationId xmlns:a16="http://schemas.microsoft.com/office/drawing/2014/main" id="{918A0054-D0F6-439D-8824-CADD3C1651E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20" y="10"/>
            <a:ext cx="12188930" cy="685799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374A498-DED8-8CA6-F58E-93ECCDB99F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306324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5100">
                <a:solidFill>
                  <a:srgbClr val="FFFFFF"/>
                </a:solidFill>
                <a:ea typeface="+mj-ea"/>
                <a:cs typeface="+mj-cs"/>
              </a:rPr>
              <a:t>Thank you for your dedication to making Illinois the best place to give birth and be born!</a:t>
            </a:r>
            <a:endParaRPr lang="en-US" sz="5100">
              <a:ea typeface="+mj-ea"/>
              <a:cs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137260-EABB-D91F-DF60-EA0F89C20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9735" y="4706588"/>
            <a:ext cx="9144000" cy="1536192"/>
          </a:xfrm>
        </p:spPr>
        <p:txBody>
          <a:bodyPr vert="horz" lIns="91440" tIns="45720" rIns="91440" bIns="45720" numCol="2" rtlCol="0" anchor="t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>
                <a:ea typeface="+mn-ea"/>
                <a:cs typeface="+mn-cs"/>
              </a:rPr>
              <a:t>Q &amp; A Session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74206" y="4368623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xmlns="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157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1F9203D6-F8FA-0B9F-2E7D-021E90F887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8425" y="1193321"/>
            <a:ext cx="6000001" cy="50293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76501" y="153281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Meet the ILPQC Central Team</a:t>
            </a:r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388495" y="5488659"/>
            <a:ext cx="216509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 panose="020B0604020202020204" pitchFamily="34" charset="0"/>
              </a:rPr>
              <a:t>Leslie  Caldarelli, MD </a:t>
            </a:r>
            <a:r>
              <a:rPr lang="en-US" altLang="en-US" sz="1400">
                <a:solidFill>
                  <a:srgbClr val="444C55"/>
                </a:solidFill>
                <a:cs typeface="Arial" panose="020B0604020202020204" pitchFamily="34" charset="0"/>
              </a:rPr>
              <a:t>: Neonatal Co-Lea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950317" y="4918480"/>
            <a:ext cx="216509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/>
              </a:rPr>
              <a:t>Ellie Suse, MPH, MSN, RN</a:t>
            </a:r>
            <a:r>
              <a:rPr lang="en-US" altLang="en-US" sz="1400">
                <a:solidFill>
                  <a:srgbClr val="444C55"/>
                </a:solidFill>
                <a:cs typeface="Arial"/>
              </a:rPr>
              <a:t>: Project Manag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99882" y="5484102"/>
            <a:ext cx="2366381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r"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 panose="020B0604020202020204" pitchFamily="34" charset="0"/>
              </a:rPr>
              <a:t>Ann Borders, MD, MSc, MPH</a:t>
            </a:r>
            <a:r>
              <a:rPr lang="en-US" altLang="en-US" sz="1400">
                <a:solidFill>
                  <a:srgbClr val="444C55"/>
                </a:solidFill>
                <a:cs typeface="Arial" panose="020B0604020202020204" pitchFamily="34" charset="0"/>
              </a:rPr>
              <a:t>: Executive Director, OB Lead</a:t>
            </a:r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758266" y="4300469"/>
            <a:ext cx="2840355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/>
              </a:rPr>
              <a:t>Alana Rivera, MSN, RNC-OB, C-EFM,</a:t>
            </a:r>
            <a:endParaRPr lang="en-US">
              <a:cs typeface="Arial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/>
              </a:rPr>
              <a:t>CLC</a:t>
            </a:r>
            <a:r>
              <a:rPr lang="en-US" altLang="en-US" sz="1400">
                <a:solidFill>
                  <a:srgbClr val="444C55"/>
                </a:solidFill>
                <a:cs typeface="Arial"/>
              </a:rPr>
              <a:t>: Nurse Quality Manager</a:t>
            </a:r>
            <a:endParaRPr lang="en-US">
              <a:solidFill>
                <a:srgbClr val="444C55"/>
              </a:solidFill>
              <a:cs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515970" y="4922827"/>
            <a:ext cx="2826457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/>
              </a:rPr>
              <a:t>Patricia Lee King, PhD, MSW</a:t>
            </a:r>
            <a:r>
              <a:rPr lang="en-US" altLang="en-US" sz="1400">
                <a:solidFill>
                  <a:srgbClr val="004990"/>
                </a:solidFill>
                <a:cs typeface="Arial"/>
              </a:rPr>
              <a:t>: </a:t>
            </a:r>
            <a:endParaRPr lang="en-US">
              <a:solidFill>
                <a:srgbClr val="444C55"/>
              </a:solidFill>
              <a:cs typeface="Arial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en-US" sz="1400">
                <a:solidFill>
                  <a:srgbClr val="444C55"/>
                </a:solidFill>
                <a:cs typeface="Arial"/>
              </a:rPr>
              <a:t>State Project Director, Quality Lead</a:t>
            </a:r>
            <a:endParaRPr lang="en-US"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A293DC-A8D5-42F8-0B28-957637EE16B9}"/>
              </a:ext>
            </a:extLst>
          </p:cNvPr>
          <p:cNvSpPr/>
          <p:nvPr/>
        </p:nvSpPr>
        <p:spPr>
          <a:xfrm>
            <a:off x="1271260" y="4300253"/>
            <a:ext cx="216509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/>
              </a:rPr>
              <a:t>Aleena </a:t>
            </a:r>
            <a:r>
              <a:rPr lang="en-US" altLang="en-US" sz="1400" b="1" err="1">
                <a:solidFill>
                  <a:srgbClr val="004990"/>
                </a:solidFill>
                <a:cs typeface="Arial"/>
              </a:rPr>
              <a:t>Surenian</a:t>
            </a:r>
            <a:r>
              <a:rPr lang="en-US" altLang="en-US" sz="1400" b="1">
                <a:solidFill>
                  <a:srgbClr val="004990"/>
                </a:solidFill>
                <a:cs typeface="Arial"/>
              </a:rPr>
              <a:t>, MPH: </a:t>
            </a:r>
            <a:endParaRPr lang="en-US"/>
          </a:p>
          <a:p>
            <a:pPr>
              <a:spcBef>
                <a:spcPct val="0"/>
              </a:spcBef>
              <a:defRPr/>
            </a:pPr>
            <a:r>
              <a:rPr lang="en-US" altLang="en-US" sz="1400">
                <a:solidFill>
                  <a:srgbClr val="444C55"/>
                </a:solidFill>
                <a:cs typeface="Arial"/>
              </a:rPr>
              <a:t>Project Coordinator</a:t>
            </a:r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542678" y="6078131"/>
            <a:ext cx="2165099" cy="52322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anchor="t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altLang="en-US" sz="1400" b="1">
                <a:solidFill>
                  <a:srgbClr val="004990"/>
                </a:solidFill>
                <a:cs typeface="Arial" panose="020B0604020202020204" pitchFamily="34" charset="0"/>
              </a:rPr>
              <a:t>Justin Josephsen, MD</a:t>
            </a:r>
            <a:r>
              <a:rPr lang="en-US" altLang="en-US" sz="1400">
                <a:solidFill>
                  <a:srgbClr val="444C55"/>
                </a:solidFill>
                <a:cs typeface="Arial" panose="020B0604020202020204" pitchFamily="34" charset="0"/>
              </a:rPr>
              <a:t>: Neonatal Co-Lea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77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Welcome Kiela! 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943155" y="1854380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en-US">
                <a:ea typeface="Lato"/>
                <a:cs typeface="Lato"/>
              </a:rPr>
              <a:t>Please welcome our newest ILPQC team member: </a:t>
            </a:r>
            <a:endParaRPr lang="en-US"/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Kiela Moreno, MPH</a:t>
            </a: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ILPQC Project Coordinator </a:t>
            </a:r>
            <a:endParaRPr lang="en-US" sz="3600" b="1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person with a white shirt&#10;&#10;Description automatically generated">
            <a:extLst>
              <a:ext uri="{FF2B5EF4-FFF2-40B4-BE49-F238E27FC236}">
                <a16:creationId xmlns:a16="http://schemas.microsoft.com/office/drawing/2014/main" id="{5F5B414C-641F-D23A-485E-78838F8986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093" y="2446546"/>
            <a:ext cx="4183812" cy="2784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1310655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ea typeface="Calibri"/>
                <a:cs typeface="Calibri"/>
                <a:hlinkClick r:id="rId6"/>
              </a:rPr>
              <a:t>info@ilpqc.org</a:t>
            </a:r>
            <a:endParaRPr lang="en-US" sz="28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262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755252" y="-42351"/>
            <a:ext cx="8647912" cy="6941844"/>
            <a:chOff x="0" y="0"/>
            <a:chExt cx="1149350" cy="114935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9478270" cy="7608388"/>
            </a:xfrm>
            <a:custGeom>
              <a:avLst/>
              <a:gdLst/>
              <a:ahLst/>
              <a:cxnLst/>
              <a:rect l="l" t="t" r="r" b="b"/>
              <a:pathLst>
                <a:path w="9478270" h="7608388">
                  <a:moveTo>
                    <a:pt x="9478270" y="84071"/>
                  </a:moveTo>
                  <a:lnTo>
                    <a:pt x="9478270" y="0"/>
                  </a:lnTo>
                  <a:lnTo>
                    <a:pt x="52366" y="0"/>
                  </a:lnTo>
                  <a:lnTo>
                    <a:pt x="52366" y="42035"/>
                  </a:lnTo>
                  <a:lnTo>
                    <a:pt x="0" y="42035"/>
                  </a:lnTo>
                  <a:lnTo>
                    <a:pt x="0" y="7608388"/>
                  </a:lnTo>
                  <a:lnTo>
                    <a:pt x="104732" y="7608388"/>
                  </a:lnTo>
                  <a:lnTo>
                    <a:pt x="104732" y="6137152"/>
                  </a:lnTo>
                  <a:lnTo>
                    <a:pt x="1885181" y="6137152"/>
                  </a:lnTo>
                  <a:lnTo>
                    <a:pt x="1885181" y="7608388"/>
                  </a:lnTo>
                  <a:lnTo>
                    <a:pt x="1989913" y="7608388"/>
                  </a:lnTo>
                  <a:lnTo>
                    <a:pt x="1989913" y="6137152"/>
                  </a:lnTo>
                  <a:lnTo>
                    <a:pt x="3770362" y="6137152"/>
                  </a:lnTo>
                  <a:lnTo>
                    <a:pt x="3770362" y="7608388"/>
                  </a:lnTo>
                  <a:lnTo>
                    <a:pt x="3875094" y="7608388"/>
                  </a:lnTo>
                  <a:lnTo>
                    <a:pt x="3875094" y="6137152"/>
                  </a:lnTo>
                  <a:lnTo>
                    <a:pt x="5655542" y="6137152"/>
                  </a:lnTo>
                  <a:lnTo>
                    <a:pt x="5655542" y="7608388"/>
                  </a:lnTo>
                  <a:lnTo>
                    <a:pt x="5760275" y="7608388"/>
                  </a:lnTo>
                  <a:lnTo>
                    <a:pt x="5760275" y="6137152"/>
                  </a:lnTo>
                  <a:lnTo>
                    <a:pt x="7540723" y="6137152"/>
                  </a:lnTo>
                  <a:lnTo>
                    <a:pt x="7540723" y="7608388"/>
                  </a:lnTo>
                  <a:lnTo>
                    <a:pt x="7645456" y="7608388"/>
                  </a:lnTo>
                  <a:lnTo>
                    <a:pt x="7645456" y="6137152"/>
                  </a:lnTo>
                  <a:lnTo>
                    <a:pt x="9478270" y="6137152"/>
                  </a:lnTo>
                  <a:lnTo>
                    <a:pt x="9478270" y="6053082"/>
                  </a:lnTo>
                  <a:lnTo>
                    <a:pt x="7645456" y="6053082"/>
                  </a:lnTo>
                  <a:lnTo>
                    <a:pt x="7645456" y="4623882"/>
                  </a:lnTo>
                  <a:lnTo>
                    <a:pt x="9478270" y="4623882"/>
                  </a:lnTo>
                  <a:lnTo>
                    <a:pt x="9478270" y="4539811"/>
                  </a:lnTo>
                  <a:lnTo>
                    <a:pt x="7645456" y="4539811"/>
                  </a:lnTo>
                  <a:lnTo>
                    <a:pt x="7645456" y="3110611"/>
                  </a:lnTo>
                  <a:lnTo>
                    <a:pt x="9478270" y="3110611"/>
                  </a:lnTo>
                  <a:lnTo>
                    <a:pt x="9478270" y="3026541"/>
                  </a:lnTo>
                  <a:lnTo>
                    <a:pt x="7645456" y="3026541"/>
                  </a:lnTo>
                  <a:lnTo>
                    <a:pt x="7645456" y="1597341"/>
                  </a:lnTo>
                  <a:lnTo>
                    <a:pt x="9478270" y="1597341"/>
                  </a:lnTo>
                  <a:lnTo>
                    <a:pt x="9478270" y="1513270"/>
                  </a:lnTo>
                  <a:lnTo>
                    <a:pt x="7645456" y="1513270"/>
                  </a:lnTo>
                  <a:lnTo>
                    <a:pt x="7645456" y="84071"/>
                  </a:lnTo>
                  <a:lnTo>
                    <a:pt x="9478270" y="84071"/>
                  </a:lnTo>
                  <a:close/>
                  <a:moveTo>
                    <a:pt x="1989913" y="1513270"/>
                  </a:moveTo>
                  <a:lnTo>
                    <a:pt x="1989913" y="84071"/>
                  </a:lnTo>
                  <a:lnTo>
                    <a:pt x="3770362" y="84071"/>
                  </a:lnTo>
                  <a:lnTo>
                    <a:pt x="3770362" y="1513270"/>
                  </a:lnTo>
                  <a:lnTo>
                    <a:pt x="1989913" y="1513270"/>
                  </a:lnTo>
                  <a:close/>
                  <a:moveTo>
                    <a:pt x="3770362" y="1597341"/>
                  </a:moveTo>
                  <a:lnTo>
                    <a:pt x="3770362" y="3026541"/>
                  </a:lnTo>
                  <a:lnTo>
                    <a:pt x="1989913" y="3026541"/>
                  </a:lnTo>
                  <a:lnTo>
                    <a:pt x="1989913" y="1597341"/>
                  </a:lnTo>
                  <a:lnTo>
                    <a:pt x="3770362" y="1597341"/>
                  </a:lnTo>
                  <a:close/>
                  <a:moveTo>
                    <a:pt x="1885181" y="1513270"/>
                  </a:moveTo>
                  <a:lnTo>
                    <a:pt x="104732" y="1513270"/>
                  </a:lnTo>
                  <a:lnTo>
                    <a:pt x="104732" y="84071"/>
                  </a:lnTo>
                  <a:lnTo>
                    <a:pt x="1885181" y="84071"/>
                  </a:lnTo>
                  <a:lnTo>
                    <a:pt x="1885181" y="1513270"/>
                  </a:lnTo>
                  <a:close/>
                  <a:moveTo>
                    <a:pt x="1885181" y="1597341"/>
                  </a:moveTo>
                  <a:lnTo>
                    <a:pt x="1885181" y="3026541"/>
                  </a:lnTo>
                  <a:lnTo>
                    <a:pt x="104732" y="3026541"/>
                  </a:lnTo>
                  <a:lnTo>
                    <a:pt x="104732" y="1597341"/>
                  </a:lnTo>
                  <a:lnTo>
                    <a:pt x="1885181" y="1597341"/>
                  </a:lnTo>
                  <a:close/>
                  <a:moveTo>
                    <a:pt x="1885181" y="3110611"/>
                  </a:moveTo>
                  <a:lnTo>
                    <a:pt x="1885181" y="4539811"/>
                  </a:lnTo>
                  <a:lnTo>
                    <a:pt x="104732" y="4539811"/>
                  </a:lnTo>
                  <a:lnTo>
                    <a:pt x="104732" y="3110611"/>
                  </a:lnTo>
                  <a:lnTo>
                    <a:pt x="1885181" y="3110611"/>
                  </a:lnTo>
                  <a:close/>
                  <a:moveTo>
                    <a:pt x="1989913" y="3110611"/>
                  </a:moveTo>
                  <a:lnTo>
                    <a:pt x="3770362" y="3110611"/>
                  </a:lnTo>
                  <a:lnTo>
                    <a:pt x="3770362" y="4539811"/>
                  </a:lnTo>
                  <a:lnTo>
                    <a:pt x="1989913" y="4539811"/>
                  </a:lnTo>
                  <a:lnTo>
                    <a:pt x="1989913" y="3110611"/>
                  </a:lnTo>
                  <a:close/>
                  <a:moveTo>
                    <a:pt x="3875094" y="3110611"/>
                  </a:moveTo>
                  <a:lnTo>
                    <a:pt x="5655542" y="3110611"/>
                  </a:lnTo>
                  <a:lnTo>
                    <a:pt x="5655542" y="4539811"/>
                  </a:lnTo>
                  <a:lnTo>
                    <a:pt x="3875094" y="4539811"/>
                  </a:lnTo>
                  <a:lnTo>
                    <a:pt x="3875094" y="3110611"/>
                  </a:lnTo>
                  <a:close/>
                  <a:moveTo>
                    <a:pt x="3875094" y="3026541"/>
                  </a:moveTo>
                  <a:lnTo>
                    <a:pt x="3875094" y="1597341"/>
                  </a:lnTo>
                  <a:lnTo>
                    <a:pt x="5655542" y="1597341"/>
                  </a:lnTo>
                  <a:lnTo>
                    <a:pt x="5655542" y="3026541"/>
                  </a:lnTo>
                  <a:lnTo>
                    <a:pt x="3875094" y="3026541"/>
                  </a:lnTo>
                  <a:close/>
                  <a:moveTo>
                    <a:pt x="3875094" y="1513270"/>
                  </a:moveTo>
                  <a:lnTo>
                    <a:pt x="3875094" y="84071"/>
                  </a:lnTo>
                  <a:lnTo>
                    <a:pt x="5655542" y="84071"/>
                  </a:lnTo>
                  <a:lnTo>
                    <a:pt x="5655542" y="1513270"/>
                  </a:lnTo>
                  <a:lnTo>
                    <a:pt x="3875094" y="1513270"/>
                  </a:lnTo>
                  <a:close/>
                  <a:moveTo>
                    <a:pt x="104732" y="6053082"/>
                  </a:moveTo>
                  <a:lnTo>
                    <a:pt x="104732" y="4623882"/>
                  </a:lnTo>
                  <a:lnTo>
                    <a:pt x="1885181" y="4623882"/>
                  </a:lnTo>
                  <a:lnTo>
                    <a:pt x="1885181" y="6053082"/>
                  </a:lnTo>
                  <a:lnTo>
                    <a:pt x="104732" y="6053082"/>
                  </a:lnTo>
                  <a:close/>
                  <a:moveTo>
                    <a:pt x="1989913" y="6053082"/>
                  </a:moveTo>
                  <a:lnTo>
                    <a:pt x="1989913" y="4623882"/>
                  </a:lnTo>
                  <a:lnTo>
                    <a:pt x="3770362" y="4623882"/>
                  </a:lnTo>
                  <a:lnTo>
                    <a:pt x="3770362" y="6053082"/>
                  </a:lnTo>
                  <a:lnTo>
                    <a:pt x="1989913" y="6053082"/>
                  </a:lnTo>
                  <a:close/>
                  <a:moveTo>
                    <a:pt x="3875094" y="6053082"/>
                  </a:moveTo>
                  <a:lnTo>
                    <a:pt x="3875094" y="4623882"/>
                  </a:lnTo>
                  <a:lnTo>
                    <a:pt x="5655542" y="4623882"/>
                  </a:lnTo>
                  <a:lnTo>
                    <a:pt x="5655542" y="6053082"/>
                  </a:lnTo>
                  <a:lnTo>
                    <a:pt x="3875094" y="6053082"/>
                  </a:lnTo>
                  <a:close/>
                  <a:moveTo>
                    <a:pt x="7540723" y="6053082"/>
                  </a:moveTo>
                  <a:lnTo>
                    <a:pt x="5760275" y="6053082"/>
                  </a:lnTo>
                  <a:lnTo>
                    <a:pt x="5760275" y="4623882"/>
                  </a:lnTo>
                  <a:lnTo>
                    <a:pt x="7540723" y="4623882"/>
                  </a:lnTo>
                  <a:lnTo>
                    <a:pt x="7540723" y="6053082"/>
                  </a:lnTo>
                  <a:close/>
                  <a:moveTo>
                    <a:pt x="7540723" y="4539811"/>
                  </a:moveTo>
                  <a:lnTo>
                    <a:pt x="5760275" y="4539811"/>
                  </a:lnTo>
                  <a:lnTo>
                    <a:pt x="5760275" y="3110611"/>
                  </a:lnTo>
                  <a:lnTo>
                    <a:pt x="7540723" y="3110611"/>
                  </a:lnTo>
                  <a:lnTo>
                    <a:pt x="7540723" y="4539811"/>
                  </a:lnTo>
                  <a:close/>
                  <a:moveTo>
                    <a:pt x="7540723" y="3026541"/>
                  </a:moveTo>
                  <a:lnTo>
                    <a:pt x="5760275" y="3026541"/>
                  </a:lnTo>
                  <a:lnTo>
                    <a:pt x="5760275" y="1597341"/>
                  </a:lnTo>
                  <a:lnTo>
                    <a:pt x="7540723" y="1597341"/>
                  </a:lnTo>
                  <a:lnTo>
                    <a:pt x="7540723" y="3026541"/>
                  </a:lnTo>
                  <a:close/>
                  <a:moveTo>
                    <a:pt x="7540723" y="1513270"/>
                  </a:moveTo>
                  <a:lnTo>
                    <a:pt x="5760275" y="1513270"/>
                  </a:lnTo>
                  <a:lnTo>
                    <a:pt x="5760275" y="84071"/>
                  </a:lnTo>
                  <a:lnTo>
                    <a:pt x="7540723" y="84071"/>
                  </a:lnTo>
                  <a:lnTo>
                    <a:pt x="7540723" y="1513270"/>
                  </a:lnTo>
                  <a:close/>
                </a:path>
              </a:pathLst>
            </a:custGeom>
            <a:solidFill>
              <a:srgbClr val="FF5757">
                <a:alpha val="19608"/>
              </a:srgbClr>
            </a:solidFill>
          </p:spPr>
        </p:sp>
      </p:grp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2206229" y="2120342"/>
            <a:ext cx="2529988" cy="3892648"/>
            <a:chOff x="0" y="0"/>
            <a:chExt cx="4128770" cy="635254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</p:sp>
        <p:sp>
          <p:nvSpPr>
            <p:cNvPr id="6" name="Freeform 6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7" name="Freeform 7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8" name="Freeform 8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9" name="Freeform 9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10" name="Freeform 10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00C6CA"/>
            </a:solidFill>
          </p:spPr>
        </p:sp>
        <p:sp>
          <p:nvSpPr>
            <p:cNvPr id="11" name="Freeform 11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</p:sp>
      </p:grpSp>
      <p:grpSp>
        <p:nvGrpSpPr>
          <p:cNvPr id="12" name="Group 12"/>
          <p:cNvGrpSpPr>
            <a:grpSpLocks noChangeAspect="1"/>
          </p:cNvGrpSpPr>
          <p:nvPr/>
        </p:nvGrpSpPr>
        <p:grpSpPr>
          <a:xfrm>
            <a:off x="4838982" y="2120342"/>
            <a:ext cx="2529988" cy="3892648"/>
            <a:chOff x="0" y="0"/>
            <a:chExt cx="4128770" cy="635254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</p:sp>
        <p:sp>
          <p:nvSpPr>
            <p:cNvPr id="14" name="Freeform 14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15" name="Freeform 15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16" name="Freeform 16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17" name="Freeform 17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18" name="Freeform 18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56AEFF"/>
            </a:solidFill>
          </p:spPr>
        </p:sp>
        <p:sp>
          <p:nvSpPr>
            <p:cNvPr id="19" name="Freeform 19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516090" y="2094079"/>
            <a:ext cx="2529988" cy="3892648"/>
            <a:chOff x="0" y="0"/>
            <a:chExt cx="4128770" cy="635254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</p:sp>
        <p:sp>
          <p:nvSpPr>
            <p:cNvPr id="22" name="Freeform 22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23" name="Freeform 23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24" name="Freeform 24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25" name="Freeform 25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26" name="Freeform 26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F9C041"/>
            </a:solidFill>
          </p:spPr>
        </p:sp>
        <p:sp>
          <p:nvSpPr>
            <p:cNvPr id="27" name="Freeform 27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4079933" y="424713"/>
            <a:ext cx="4040136" cy="1455300"/>
            <a:chOff x="0" y="0"/>
            <a:chExt cx="18938240" cy="6350000"/>
          </a:xfrm>
        </p:grpSpPr>
        <p:sp>
          <p:nvSpPr>
            <p:cNvPr id="29" name="Freeform 29"/>
            <p:cNvSpPr/>
            <p:nvPr/>
          </p:nvSpPr>
          <p:spPr>
            <a:xfrm>
              <a:off x="27940" y="27940"/>
              <a:ext cx="18883630" cy="916940"/>
            </a:xfrm>
            <a:custGeom>
              <a:avLst/>
              <a:gdLst/>
              <a:ahLst/>
              <a:cxnLst/>
              <a:rect l="l" t="t" r="r" b="b"/>
              <a:pathLst>
                <a:path w="18883630" h="916940">
                  <a:moveTo>
                    <a:pt x="18883630" y="670560"/>
                  </a:moveTo>
                  <a:lnTo>
                    <a:pt x="18883630" y="916940"/>
                  </a:lnTo>
                  <a:lnTo>
                    <a:pt x="0" y="91694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271780"/>
                  </a:lnTo>
                  <a:moveTo>
                    <a:pt x="18883630" y="271780"/>
                  </a:moveTo>
                  <a:lnTo>
                    <a:pt x="18883630" y="670560"/>
                  </a:lnTo>
                </a:path>
              </a:pathLst>
            </a:custGeom>
            <a:solidFill>
              <a:srgbClr val="FA7D9D"/>
            </a:solidFill>
          </p:spPr>
        </p:sp>
        <p:sp>
          <p:nvSpPr>
            <p:cNvPr id="30" name="Freeform 30"/>
            <p:cNvSpPr/>
            <p:nvPr/>
          </p:nvSpPr>
          <p:spPr>
            <a:xfrm>
              <a:off x="27940" y="944880"/>
              <a:ext cx="18883630" cy="5377180"/>
            </a:xfrm>
            <a:custGeom>
              <a:avLst/>
              <a:gdLst/>
              <a:ahLst/>
              <a:cxnLst/>
              <a:rect l="l" t="t" r="r" b="b"/>
              <a:pathLst>
                <a:path w="18883630" h="5377180">
                  <a:moveTo>
                    <a:pt x="18883630" y="1172210"/>
                  </a:moveTo>
                  <a:lnTo>
                    <a:pt x="18883630" y="5377180"/>
                  </a:lnTo>
                  <a:lnTo>
                    <a:pt x="10957560" y="5377180"/>
                  </a:lnTo>
                  <a:moveTo>
                    <a:pt x="10957560" y="5377180"/>
                  </a:moveTo>
                  <a:lnTo>
                    <a:pt x="0" y="537718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1172210"/>
                  </a:lnTo>
                </a:path>
              </a:pathLst>
            </a:custGeom>
            <a:solidFill>
              <a:srgbClr val="FAF2E9"/>
            </a:solidFill>
            <a:ln w="12700">
              <a:solidFill>
                <a:srgbClr val="000000"/>
              </a:solidFill>
            </a:ln>
          </p:spPr>
        </p:sp>
        <p:sp>
          <p:nvSpPr>
            <p:cNvPr id="31" name="Freeform 31"/>
            <p:cNvSpPr/>
            <p:nvPr/>
          </p:nvSpPr>
          <p:spPr>
            <a:xfrm>
              <a:off x="317500" y="299720"/>
              <a:ext cx="1515110" cy="369570"/>
            </a:xfrm>
            <a:custGeom>
              <a:avLst/>
              <a:gdLst/>
              <a:ahLst/>
              <a:cxnLst/>
              <a:rect l="l" t="t" r="r" b="b"/>
              <a:pathLst>
                <a:path w="1515110" h="369570">
                  <a:moveTo>
                    <a:pt x="368300" y="185420"/>
                  </a:moveTo>
                  <a:cubicBezTo>
                    <a:pt x="368300" y="287020"/>
                    <a:pt x="285750" y="369570"/>
                    <a:pt x="184150" y="369570"/>
                  </a:cubicBezTo>
                  <a:cubicBezTo>
                    <a:pt x="82550" y="369570"/>
                    <a:pt x="0" y="287020"/>
                    <a:pt x="0" y="185420"/>
                  </a:cubicBezTo>
                  <a:cubicBezTo>
                    <a:pt x="0" y="83820"/>
                    <a:pt x="82550" y="1270"/>
                    <a:pt x="184150" y="1270"/>
                  </a:cubicBezTo>
                  <a:cubicBezTo>
                    <a:pt x="285750" y="1270"/>
                    <a:pt x="368300" y="82550"/>
                    <a:pt x="368300" y="185420"/>
                  </a:cubicBezTo>
                  <a:close/>
                  <a:moveTo>
                    <a:pt x="756920" y="0"/>
                  </a:moveTo>
                  <a:cubicBezTo>
                    <a:pt x="655320" y="0"/>
                    <a:pt x="572770" y="82550"/>
                    <a:pt x="572770" y="184150"/>
                  </a:cubicBezTo>
                  <a:cubicBezTo>
                    <a:pt x="572770" y="285750"/>
                    <a:pt x="655320" y="368300"/>
                    <a:pt x="756920" y="368300"/>
                  </a:cubicBezTo>
                  <a:cubicBezTo>
                    <a:pt x="858520" y="368300"/>
                    <a:pt x="941070" y="285750"/>
                    <a:pt x="941070" y="184150"/>
                  </a:cubicBezTo>
                  <a:cubicBezTo>
                    <a:pt x="941070" y="82550"/>
                    <a:pt x="858520" y="0"/>
                    <a:pt x="756920" y="0"/>
                  </a:cubicBezTo>
                  <a:close/>
                  <a:moveTo>
                    <a:pt x="1330960" y="0"/>
                  </a:moveTo>
                  <a:cubicBezTo>
                    <a:pt x="1229360" y="0"/>
                    <a:pt x="1146810" y="82550"/>
                    <a:pt x="1146810" y="184150"/>
                  </a:cubicBezTo>
                  <a:cubicBezTo>
                    <a:pt x="1146810" y="285750"/>
                    <a:pt x="1229360" y="368300"/>
                    <a:pt x="1330960" y="368300"/>
                  </a:cubicBezTo>
                  <a:cubicBezTo>
                    <a:pt x="1432560" y="368300"/>
                    <a:pt x="1515110" y="285750"/>
                    <a:pt x="1515110" y="184150"/>
                  </a:cubicBezTo>
                  <a:cubicBezTo>
                    <a:pt x="1515110" y="82550"/>
                    <a:pt x="1432560" y="0"/>
                    <a:pt x="1330960" y="0"/>
                  </a:cubicBez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32" name="Freeform 32"/>
            <p:cNvSpPr/>
            <p:nvPr/>
          </p:nvSpPr>
          <p:spPr>
            <a:xfrm>
              <a:off x="0" y="0"/>
              <a:ext cx="18939509" cy="6350000"/>
            </a:xfrm>
            <a:custGeom>
              <a:avLst/>
              <a:gdLst/>
              <a:ahLst/>
              <a:cxnLst/>
              <a:rect l="l" t="t" r="r" b="b"/>
              <a:pathLst>
                <a:path w="18939509" h="6350000">
                  <a:moveTo>
                    <a:pt x="18911570" y="6350000"/>
                  </a:moveTo>
                  <a:lnTo>
                    <a:pt x="27940" y="6350000"/>
                  </a:lnTo>
                  <a:cubicBezTo>
                    <a:pt x="12700" y="6350000"/>
                    <a:pt x="0" y="6337300"/>
                    <a:pt x="0" y="632206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6322060"/>
                  </a:lnTo>
                  <a:cubicBezTo>
                    <a:pt x="18938239" y="6337300"/>
                    <a:pt x="18926811" y="6350000"/>
                    <a:pt x="18911570" y="6350000"/>
                  </a:cubicBezTo>
                  <a:close/>
                  <a:moveTo>
                    <a:pt x="55880" y="6294120"/>
                  </a:moveTo>
                  <a:lnTo>
                    <a:pt x="18883630" y="629412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6294120"/>
                  </a:lnTo>
                  <a:close/>
                  <a:moveTo>
                    <a:pt x="18911570" y="972820"/>
                  </a:moveTo>
                  <a:lnTo>
                    <a:pt x="27940" y="972820"/>
                  </a:lnTo>
                  <a:cubicBezTo>
                    <a:pt x="12700" y="972820"/>
                    <a:pt x="0" y="960120"/>
                    <a:pt x="0" y="94488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944880"/>
                  </a:lnTo>
                  <a:cubicBezTo>
                    <a:pt x="18938239" y="960120"/>
                    <a:pt x="18926811" y="972820"/>
                    <a:pt x="18911570" y="972820"/>
                  </a:cubicBezTo>
                  <a:close/>
                  <a:moveTo>
                    <a:pt x="55880" y="916940"/>
                  </a:moveTo>
                  <a:lnTo>
                    <a:pt x="18883630" y="91694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916940"/>
                  </a:lnTo>
                  <a:close/>
                  <a:moveTo>
                    <a:pt x="501650" y="695960"/>
                  </a:moveTo>
                  <a:cubicBezTo>
                    <a:pt x="384810" y="695960"/>
                    <a:pt x="289560" y="600710"/>
                    <a:pt x="289560" y="483870"/>
                  </a:cubicBezTo>
                  <a:cubicBezTo>
                    <a:pt x="289560" y="367030"/>
                    <a:pt x="384810" y="271780"/>
                    <a:pt x="501650" y="271780"/>
                  </a:cubicBezTo>
                  <a:cubicBezTo>
                    <a:pt x="618490" y="271780"/>
                    <a:pt x="713740" y="367030"/>
                    <a:pt x="713740" y="483870"/>
                  </a:cubicBezTo>
                  <a:cubicBezTo>
                    <a:pt x="713740" y="600710"/>
                    <a:pt x="618490" y="695960"/>
                    <a:pt x="501650" y="695960"/>
                  </a:cubicBezTo>
                  <a:close/>
                  <a:moveTo>
                    <a:pt x="501650" y="327660"/>
                  </a:moveTo>
                  <a:cubicBezTo>
                    <a:pt x="415290" y="327660"/>
                    <a:pt x="345440" y="397510"/>
                    <a:pt x="345440" y="483870"/>
                  </a:cubicBezTo>
                  <a:cubicBezTo>
                    <a:pt x="345440" y="570230"/>
                    <a:pt x="415290" y="640080"/>
                    <a:pt x="501650" y="640080"/>
                  </a:cubicBezTo>
                  <a:cubicBezTo>
                    <a:pt x="588010" y="640080"/>
                    <a:pt x="657860" y="570230"/>
                    <a:pt x="657860" y="483870"/>
                  </a:cubicBezTo>
                  <a:cubicBezTo>
                    <a:pt x="657860" y="397510"/>
                    <a:pt x="588010" y="327660"/>
                    <a:pt x="501650" y="327660"/>
                  </a:cubicBezTo>
                  <a:close/>
                  <a:moveTo>
                    <a:pt x="1074420" y="695960"/>
                  </a:moveTo>
                  <a:cubicBezTo>
                    <a:pt x="957580" y="695960"/>
                    <a:pt x="862330" y="600710"/>
                    <a:pt x="862330" y="483870"/>
                  </a:cubicBezTo>
                  <a:cubicBezTo>
                    <a:pt x="862330" y="367030"/>
                    <a:pt x="957580" y="271780"/>
                    <a:pt x="1074420" y="271780"/>
                  </a:cubicBezTo>
                  <a:cubicBezTo>
                    <a:pt x="1191260" y="271780"/>
                    <a:pt x="1286510" y="367030"/>
                    <a:pt x="1286510" y="483870"/>
                  </a:cubicBezTo>
                  <a:cubicBezTo>
                    <a:pt x="1286510" y="600710"/>
                    <a:pt x="1191260" y="695960"/>
                    <a:pt x="1074420" y="695960"/>
                  </a:cubicBezTo>
                  <a:close/>
                  <a:moveTo>
                    <a:pt x="1074420" y="327660"/>
                  </a:moveTo>
                  <a:cubicBezTo>
                    <a:pt x="988060" y="327660"/>
                    <a:pt x="918210" y="397510"/>
                    <a:pt x="918210" y="483870"/>
                  </a:cubicBezTo>
                  <a:cubicBezTo>
                    <a:pt x="918210" y="570230"/>
                    <a:pt x="988060" y="640080"/>
                    <a:pt x="1074420" y="640080"/>
                  </a:cubicBezTo>
                  <a:cubicBezTo>
                    <a:pt x="1160780" y="640080"/>
                    <a:pt x="1230630" y="570230"/>
                    <a:pt x="1230630" y="483870"/>
                  </a:cubicBezTo>
                  <a:cubicBezTo>
                    <a:pt x="1230630" y="397510"/>
                    <a:pt x="1160780" y="327660"/>
                    <a:pt x="1074420" y="327660"/>
                  </a:cubicBezTo>
                  <a:close/>
                  <a:moveTo>
                    <a:pt x="1648460" y="695960"/>
                  </a:moveTo>
                  <a:cubicBezTo>
                    <a:pt x="1531620" y="695960"/>
                    <a:pt x="1436370" y="600710"/>
                    <a:pt x="1436370" y="483870"/>
                  </a:cubicBezTo>
                  <a:cubicBezTo>
                    <a:pt x="1436370" y="367030"/>
                    <a:pt x="1531620" y="271780"/>
                    <a:pt x="1648460" y="271780"/>
                  </a:cubicBezTo>
                  <a:cubicBezTo>
                    <a:pt x="1765300" y="271780"/>
                    <a:pt x="1860550" y="367030"/>
                    <a:pt x="1860550" y="483870"/>
                  </a:cubicBezTo>
                  <a:cubicBezTo>
                    <a:pt x="1860550" y="600710"/>
                    <a:pt x="1765300" y="695960"/>
                    <a:pt x="1648460" y="695960"/>
                  </a:cubicBezTo>
                  <a:close/>
                  <a:moveTo>
                    <a:pt x="1648460" y="327660"/>
                  </a:moveTo>
                  <a:cubicBezTo>
                    <a:pt x="1562100" y="327660"/>
                    <a:pt x="1492250" y="397510"/>
                    <a:pt x="1492250" y="483870"/>
                  </a:cubicBezTo>
                  <a:cubicBezTo>
                    <a:pt x="1492250" y="570230"/>
                    <a:pt x="1562100" y="640080"/>
                    <a:pt x="1648460" y="640080"/>
                  </a:cubicBezTo>
                  <a:cubicBezTo>
                    <a:pt x="1734820" y="640080"/>
                    <a:pt x="1804670" y="570230"/>
                    <a:pt x="1804670" y="483870"/>
                  </a:cubicBezTo>
                  <a:cubicBezTo>
                    <a:pt x="1804670" y="397510"/>
                    <a:pt x="1733550" y="327660"/>
                    <a:pt x="1648460" y="327660"/>
                  </a:cubicBezTo>
                  <a:close/>
                  <a:moveTo>
                    <a:pt x="18501361" y="670560"/>
                  </a:moveTo>
                  <a:lnTo>
                    <a:pt x="18501361" y="302260"/>
                  </a:lnTo>
                  <a:cubicBezTo>
                    <a:pt x="18501361" y="287020"/>
                    <a:pt x="18488661" y="274320"/>
                    <a:pt x="18473421" y="274320"/>
                  </a:cubicBezTo>
                  <a:cubicBezTo>
                    <a:pt x="18458182" y="274320"/>
                    <a:pt x="18445482" y="287020"/>
                    <a:pt x="18445482" y="302260"/>
                  </a:cubicBezTo>
                  <a:lnTo>
                    <a:pt x="18445482" y="670560"/>
                  </a:lnTo>
                  <a:cubicBezTo>
                    <a:pt x="18445482" y="685800"/>
                    <a:pt x="18458182" y="698500"/>
                    <a:pt x="18473421" y="698500"/>
                  </a:cubicBezTo>
                  <a:cubicBezTo>
                    <a:pt x="18488661" y="698500"/>
                    <a:pt x="18501361" y="685800"/>
                    <a:pt x="18501361" y="670560"/>
                  </a:cubicBezTo>
                  <a:close/>
                  <a:moveTo>
                    <a:pt x="18685511" y="488950"/>
                  </a:moveTo>
                  <a:cubicBezTo>
                    <a:pt x="18685511" y="473710"/>
                    <a:pt x="18672811" y="461010"/>
                    <a:pt x="18657571" y="461010"/>
                  </a:cubicBezTo>
                  <a:lnTo>
                    <a:pt x="18289271" y="458470"/>
                  </a:lnTo>
                  <a:cubicBezTo>
                    <a:pt x="18275302" y="457200"/>
                    <a:pt x="18261332" y="471170"/>
                    <a:pt x="18261332" y="486410"/>
                  </a:cubicBezTo>
                  <a:cubicBezTo>
                    <a:pt x="18261332" y="501650"/>
                    <a:pt x="18274032" y="514350"/>
                    <a:pt x="18289271" y="514350"/>
                  </a:cubicBezTo>
                  <a:lnTo>
                    <a:pt x="18657571" y="516890"/>
                  </a:lnTo>
                  <a:lnTo>
                    <a:pt x="18657571" y="516890"/>
                  </a:lnTo>
                  <a:cubicBezTo>
                    <a:pt x="18672811" y="516890"/>
                    <a:pt x="18685511" y="504190"/>
                    <a:pt x="18685511" y="488950"/>
                  </a:cubicBezTo>
                  <a:close/>
                </a:path>
              </a:pathLst>
            </a:custGeom>
            <a:solidFill>
              <a:srgbClr val="1B1464"/>
            </a:solidFill>
          </p:spPr>
        </p:sp>
      </p:grpSp>
      <p:grpSp>
        <p:nvGrpSpPr>
          <p:cNvPr id="33" name="Group 33"/>
          <p:cNvGrpSpPr/>
          <p:nvPr/>
        </p:nvGrpSpPr>
        <p:grpSpPr>
          <a:xfrm>
            <a:off x="2205136" y="5698528"/>
            <a:ext cx="2531080" cy="652530"/>
            <a:chOff x="0" y="0"/>
            <a:chExt cx="40419286" cy="10420374"/>
          </a:xfrm>
        </p:grpSpPr>
        <p:sp>
          <p:nvSpPr>
            <p:cNvPr id="34" name="Freeform 34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35" name="Freeform 35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</p:sp>
      </p:grpSp>
      <p:grpSp>
        <p:nvGrpSpPr>
          <p:cNvPr id="36" name="Group 36"/>
          <p:cNvGrpSpPr/>
          <p:nvPr/>
        </p:nvGrpSpPr>
        <p:grpSpPr>
          <a:xfrm>
            <a:off x="4838435" y="5698528"/>
            <a:ext cx="2531080" cy="652530"/>
            <a:chOff x="0" y="0"/>
            <a:chExt cx="40419286" cy="10420374"/>
          </a:xfrm>
        </p:grpSpPr>
        <p:sp>
          <p:nvSpPr>
            <p:cNvPr id="37" name="Freeform 37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38" name="Freeform 38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</p:sp>
      </p:grpSp>
      <p:grpSp>
        <p:nvGrpSpPr>
          <p:cNvPr id="39" name="Group 39"/>
          <p:cNvGrpSpPr/>
          <p:nvPr/>
        </p:nvGrpSpPr>
        <p:grpSpPr>
          <a:xfrm>
            <a:off x="7516975" y="5697332"/>
            <a:ext cx="2540045" cy="652530"/>
            <a:chOff x="0" y="0"/>
            <a:chExt cx="40419286" cy="10420374"/>
          </a:xfrm>
        </p:grpSpPr>
        <p:sp>
          <p:nvSpPr>
            <p:cNvPr id="40" name="Freeform 40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</p:sp>
        <p:sp>
          <p:nvSpPr>
            <p:cNvPr id="41" name="Freeform 41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</p:sp>
      </p:grpSp>
      <p:sp>
        <p:nvSpPr>
          <p:cNvPr id="42" name="Freeform 42"/>
          <p:cNvSpPr/>
          <p:nvPr/>
        </p:nvSpPr>
        <p:spPr>
          <a:xfrm>
            <a:off x="1603691" y="527665"/>
            <a:ext cx="1073750" cy="462558"/>
          </a:xfrm>
          <a:custGeom>
            <a:avLst/>
            <a:gdLst/>
            <a:ahLst/>
            <a:cxnLst/>
            <a:rect l="l" t="t" r="r" b="b"/>
            <a:pathLst>
              <a:path w="1127438" h="485686">
                <a:moveTo>
                  <a:pt x="0" y="0"/>
                </a:moveTo>
                <a:lnTo>
                  <a:pt x="1127438" y="0"/>
                </a:lnTo>
                <a:lnTo>
                  <a:pt x="1127438" y="485686"/>
                </a:lnTo>
                <a:lnTo>
                  <a:pt x="0" y="48568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44" name="Group 44"/>
          <p:cNvGrpSpPr/>
          <p:nvPr/>
        </p:nvGrpSpPr>
        <p:grpSpPr>
          <a:xfrm>
            <a:off x="4212578" y="782219"/>
            <a:ext cx="3774844" cy="1040524"/>
            <a:chOff x="0" y="57149"/>
            <a:chExt cx="5284782" cy="1456734"/>
          </a:xfrm>
        </p:grpSpPr>
        <p:sp>
          <p:nvSpPr>
            <p:cNvPr id="45" name="TextBox 45"/>
            <p:cNvSpPr txBox="1"/>
            <p:nvPr/>
          </p:nvSpPr>
          <p:spPr>
            <a:xfrm>
              <a:off x="0" y="951395"/>
              <a:ext cx="5284782" cy="56248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99"/>
                </a:lnSpc>
              </a:pPr>
              <a:r>
                <a:rPr lang="en-US" sz="1300">
                  <a:solidFill>
                    <a:srgbClr val="1B1464"/>
                  </a:solidFill>
                  <a:latin typeface="HK Grotesk"/>
                </a:rPr>
                <a:t>Share the great work that </a:t>
              </a:r>
              <a:endParaRPr lang="en-US"/>
            </a:p>
            <a:p>
              <a:pPr algn="ctr">
                <a:lnSpc>
                  <a:spcPts val="1599"/>
                </a:lnSpc>
              </a:pPr>
              <a:r>
                <a:rPr lang="en-US" sz="1300">
                  <a:solidFill>
                    <a:srgbClr val="1B1464"/>
                  </a:solidFill>
                  <a:latin typeface="HK Grotesk"/>
                </a:rPr>
                <a:t>your OB teams are doing! </a:t>
              </a:r>
              <a:endParaRPr lang="en-US"/>
            </a:p>
          </p:txBody>
        </p:sp>
        <p:sp>
          <p:nvSpPr>
            <p:cNvPr id="46" name="TextBox 46"/>
            <p:cNvSpPr txBox="1"/>
            <p:nvPr/>
          </p:nvSpPr>
          <p:spPr>
            <a:xfrm>
              <a:off x="0" y="57149"/>
              <a:ext cx="5284782" cy="94660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37"/>
                </a:lnSpc>
              </a:pPr>
              <a:r>
                <a:rPr lang="en-US" sz="3400">
                  <a:solidFill>
                    <a:srgbClr val="1B1464"/>
                  </a:solidFill>
                  <a:latin typeface="TAN Tangkiwood"/>
                </a:rPr>
                <a:t>2024 F2F OB &amp; Neo Storyboards</a:t>
              </a:r>
            </a:p>
          </p:txBody>
        </p:sp>
      </p:grpSp>
      <p:sp>
        <p:nvSpPr>
          <p:cNvPr id="47" name="TextBox 47"/>
          <p:cNvSpPr txBox="1"/>
          <p:nvPr/>
        </p:nvSpPr>
        <p:spPr>
          <a:xfrm>
            <a:off x="2309031" y="5820685"/>
            <a:ext cx="2323291" cy="404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99"/>
              </a:lnSpc>
              <a:spcBef>
                <a:spcPct val="0"/>
              </a:spcBef>
            </a:pPr>
            <a:r>
              <a:rPr lang="en-US" sz="1300" b="1">
                <a:solidFill>
                  <a:srgbClr val="1B1464"/>
                </a:solidFill>
                <a:ea typeface="+mn-lt"/>
                <a:cs typeface="+mn-lt"/>
              </a:rPr>
              <a:t>Introduce your hospital and PVB, BE, and QI teams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837376" y="5762183"/>
            <a:ext cx="2559683" cy="492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PVB Journey </a:t>
            </a:r>
            <a:endParaRPr lang="en-US"/>
          </a:p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Sustainability Teams</a:t>
            </a:r>
          </a:p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Coaching Teams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7573013" y="5764079"/>
            <a:ext cx="2423185" cy="492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Birth Equity Journey</a:t>
            </a:r>
            <a:endParaRPr lang="en-US"/>
          </a:p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Successes and Opportunities</a:t>
            </a:r>
          </a:p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Engaging Patient Partners &amp; RC Breakfasts</a:t>
            </a:r>
          </a:p>
        </p:txBody>
      </p:sp>
      <p:pic>
        <p:nvPicPr>
          <p:cNvPr id="51" name="Picture 50" descr="A logo with black text&#10;&#10;Description automatically generated">
            <a:extLst>
              <a:ext uri="{FF2B5EF4-FFF2-40B4-BE49-F238E27FC236}">
                <a16:creationId xmlns:a16="http://schemas.microsoft.com/office/drawing/2014/main" id="{71B05762-4A76-D29F-133E-F13A5499E9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336" y="2393740"/>
            <a:ext cx="1788723" cy="963463"/>
          </a:xfrm>
          <a:prstGeom prst="rect">
            <a:avLst/>
          </a:prstGeom>
        </p:spPr>
      </p:pic>
      <p:pic>
        <p:nvPicPr>
          <p:cNvPr id="52" name="Picture 51" descr="A map with a red star&#10;&#10;Description automatically generated">
            <a:extLst>
              <a:ext uri="{FF2B5EF4-FFF2-40B4-BE49-F238E27FC236}">
                <a16:creationId xmlns:a16="http://schemas.microsoft.com/office/drawing/2014/main" id="{FF9C82C7-C243-8E0C-A242-7926AA63ACB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753" y="3419386"/>
            <a:ext cx="1754758" cy="1097533"/>
          </a:xfrm>
          <a:prstGeom prst="rect">
            <a:avLst/>
          </a:prstGeom>
        </p:spPr>
      </p:pic>
      <p:sp>
        <p:nvSpPr>
          <p:cNvPr id="43" name="Freeform 43"/>
          <p:cNvSpPr/>
          <p:nvPr/>
        </p:nvSpPr>
        <p:spPr>
          <a:xfrm>
            <a:off x="4086425" y="3003053"/>
            <a:ext cx="4377972" cy="3113488"/>
          </a:xfrm>
          <a:custGeom>
            <a:avLst/>
            <a:gdLst/>
            <a:ahLst/>
            <a:cxnLst/>
            <a:rect l="l" t="t" r="r" b="b"/>
            <a:pathLst>
              <a:path w="1260606" h="1170788">
                <a:moveTo>
                  <a:pt x="0" y="0"/>
                </a:moveTo>
                <a:lnTo>
                  <a:pt x="1260605" y="0"/>
                </a:lnTo>
                <a:lnTo>
                  <a:pt x="1260605" y="1170787"/>
                </a:lnTo>
                <a:lnTo>
                  <a:pt x="0" y="1170787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</p:sp>
      <p:sp>
        <p:nvSpPr>
          <p:cNvPr id="50" name="TextBox 50"/>
          <p:cNvSpPr txBox="1"/>
          <p:nvPr/>
        </p:nvSpPr>
        <p:spPr>
          <a:xfrm>
            <a:off x="4834047" y="3004894"/>
            <a:ext cx="2939385" cy="17851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2900" b="1">
                <a:solidFill>
                  <a:srgbClr val="FF0000"/>
                </a:solidFill>
                <a:latin typeface="Canva Sans Bold"/>
              </a:rPr>
              <a:t>Storyboard templates c</a:t>
            </a:r>
            <a:r>
              <a:rPr lang="en-US" sz="2900" b="1" i="1">
                <a:solidFill>
                  <a:srgbClr val="FF0000"/>
                </a:solidFill>
                <a:latin typeface="Canva Sans Bold"/>
              </a:rPr>
              <a:t>oming soon</a:t>
            </a:r>
            <a:r>
              <a:rPr lang="en-US" sz="2900" b="1">
                <a:solidFill>
                  <a:srgbClr val="FF0000"/>
                </a:solidFill>
                <a:latin typeface="Canva Sans Bold"/>
              </a:rPr>
              <a:t> on event webpage</a:t>
            </a:r>
          </a:p>
        </p:txBody>
      </p:sp>
    </p:spTree>
    <p:extLst>
      <p:ext uri="{BB962C8B-B14F-4D97-AF65-F5344CB8AC3E}">
        <p14:creationId xmlns:p14="http://schemas.microsoft.com/office/powerpoint/2010/main" val="2376362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LPQC presentation template" id="{35224A54-0256-BC4D-BA49-E4C8CBDEF290}" vid="{6F8BB9A5-9E34-5741-BA29-5AC8BAD13B37}"/>
    </a:ext>
  </a:extLst>
</a:theme>
</file>

<file path=ppt/theme/theme4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7F919F35396C46BCC99A41B61FF6C4" ma:contentTypeVersion="5" ma:contentTypeDescription="Create a new document." ma:contentTypeScope="" ma:versionID="8f074c434ae808e49a0fb2f1eee0f2c6">
  <xsd:schema xmlns:xsd="http://www.w3.org/2001/XMLSchema" xmlns:xs="http://www.w3.org/2001/XMLSchema" xmlns:p="http://schemas.microsoft.com/office/2006/metadata/properties" xmlns:ns3="0e4dc1e4-40c9-491a-9845-6ada7ef57d3d" xmlns:ns4="056d6a5c-1e55-422c-a57e-1d4a9418b559" targetNamespace="http://schemas.microsoft.com/office/2006/metadata/properties" ma:root="true" ma:fieldsID="2529826ef9f827e6d0e3f932fe40066a" ns3:_="" ns4:_="">
    <xsd:import namespace="0e4dc1e4-40c9-491a-9845-6ada7ef57d3d"/>
    <xsd:import namespace="056d6a5c-1e55-422c-a57e-1d4a9418b55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dc1e4-40c9-491a-9845-6ada7ef57d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6d6a5c-1e55-422c-a57e-1d4a9418b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7665A59-46FC-4882-A246-64460C2F1169}">
  <ds:schemaRefs>
    <ds:schemaRef ds:uri="http://schemas.microsoft.com/office/2006/metadata/properties"/>
    <ds:schemaRef ds:uri="http://purl.org/dc/elements/1.1/"/>
    <ds:schemaRef ds:uri="http://purl.org/dc/dcmitype/"/>
    <ds:schemaRef ds:uri="056d6a5c-1e55-422c-a57e-1d4a9418b559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0e4dc1e4-40c9-491a-9845-6ada7ef57d3d"/>
  </ds:schemaRefs>
</ds:datastoreItem>
</file>

<file path=customXml/itemProps2.xml><?xml version="1.0" encoding="utf-8"?>
<ds:datastoreItem xmlns:ds="http://schemas.openxmlformats.org/officeDocument/2006/customXml" ds:itemID="{DB68B6DB-3852-405C-87CC-64EC9896B20A}">
  <ds:schemaRefs>
    <ds:schemaRef ds:uri="056d6a5c-1e55-422c-a57e-1d4a9418b559"/>
    <ds:schemaRef ds:uri="0e4dc1e4-40c9-491a-9845-6ada7ef57d3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94958E5-1636-44C2-8EFF-9F06F0D671B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96</Words>
  <Application>Microsoft Office PowerPoint</Application>
  <PresentationFormat>Widescreen</PresentationFormat>
  <Paragraphs>470</Paragraphs>
  <Slides>46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3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89" baseType="lpstr">
      <vt:lpstr>MS PGothic</vt:lpstr>
      <vt:lpstr>Agrandir Narrow</vt:lpstr>
      <vt:lpstr>Aptos</vt:lpstr>
      <vt:lpstr>Aptos Display</vt:lpstr>
      <vt:lpstr>Arial</vt:lpstr>
      <vt:lpstr>Barlow Bold</vt:lpstr>
      <vt:lpstr>Barlow Semi-Bold</vt:lpstr>
      <vt:lpstr>Barlow SemiCondensed</vt:lpstr>
      <vt:lpstr>Calibri</vt:lpstr>
      <vt:lpstr>Cambria</vt:lpstr>
      <vt:lpstr>Canva Sans 2 Bold</vt:lpstr>
      <vt:lpstr>Canva Sans Bold</vt:lpstr>
      <vt:lpstr>Courier New</vt:lpstr>
      <vt:lpstr>DM Sans</vt:lpstr>
      <vt:lpstr>Heading Now 71-78</vt:lpstr>
      <vt:lpstr>Heading Now 71-78 Bold</vt:lpstr>
      <vt:lpstr>Helvetica Neue</vt:lpstr>
      <vt:lpstr>Helvetica Neue Medium</vt:lpstr>
      <vt:lpstr>HK Grotesk</vt:lpstr>
      <vt:lpstr>HK Grotesk Bold</vt:lpstr>
      <vt:lpstr>Kollektif Bold</vt:lpstr>
      <vt:lpstr>Lato</vt:lpstr>
      <vt:lpstr>Lato Medium</vt:lpstr>
      <vt:lpstr>メイリオ</vt:lpstr>
      <vt:lpstr>Noto Sans Symbols</vt:lpstr>
      <vt:lpstr>Prompt</vt:lpstr>
      <vt:lpstr>Prompt Bold</vt:lpstr>
      <vt:lpstr>Prompt Italics</vt:lpstr>
      <vt:lpstr>Segoe UI</vt:lpstr>
      <vt:lpstr>Staatliches</vt:lpstr>
      <vt:lpstr>TAN Tangkiwood</vt:lpstr>
      <vt:lpstr>Verdana</vt:lpstr>
      <vt:lpstr>Wingdings</vt:lpstr>
      <vt:lpstr>6_Office Theme</vt:lpstr>
      <vt:lpstr>4_Office Theme</vt:lpstr>
      <vt:lpstr>2_Office Theme</vt:lpstr>
      <vt:lpstr>3_Office Theme</vt:lpstr>
      <vt:lpstr>7_Office Theme</vt:lpstr>
      <vt:lpstr>Office Theme</vt:lpstr>
      <vt:lpstr>3_Office Theme</vt:lpstr>
      <vt:lpstr>3_Office Theme</vt:lpstr>
      <vt:lpstr>office theme</vt:lpstr>
      <vt:lpstr>think-cell Slide</vt:lpstr>
      <vt:lpstr>ILPQC: Supporting teams to achieve QI Excellence</vt:lpstr>
      <vt:lpstr>Illinois Perinatal Quality Collaborative (ILPQC) </vt:lpstr>
      <vt:lpstr>PowerPoint Presentation</vt:lpstr>
      <vt:lpstr>ILPQC Initiatives &amp; Hospital Engagement</vt:lpstr>
      <vt:lpstr>Meet the ILPQC Central Team</vt:lpstr>
      <vt:lpstr>Welcome Kiela! </vt:lpstr>
      <vt:lpstr>PowerPoint Presentation</vt:lpstr>
      <vt:lpstr>PowerPoint Presentation</vt:lpstr>
      <vt:lpstr>PowerPoint Presentation</vt:lpstr>
      <vt:lpstr>What is QI? A Brief Intro</vt:lpstr>
      <vt:lpstr>What is Quality Improvement?</vt:lpstr>
      <vt:lpstr>30-60-90 Day plan</vt:lpstr>
      <vt:lpstr>PDSA Cycles</vt:lpstr>
      <vt:lpstr>Birth Equity (BE):</vt:lpstr>
      <vt:lpstr>PowerPoint Presentation</vt:lpstr>
      <vt:lpstr>Network-Specific BE Data Submission</vt:lpstr>
      <vt:lpstr>PowerPoint Presentation</vt:lpstr>
      <vt:lpstr>Data for PREM, RCP and Patient/Community Engagement </vt:lpstr>
      <vt:lpstr>How will your team identify and onboard a Patient Partner in 2024?</vt:lpstr>
      <vt:lpstr>Momma's Voices  Patient Family Partner Training</vt:lpstr>
      <vt:lpstr>PQI SPEAK UP Champion Training Announcement – April 12th &amp; 19th 2024!  ILPQC sponsored FREE 2-day training</vt:lpstr>
      <vt:lpstr>Achieving Birth Equity QI Excellence Award by Face-to-Face Meeting May 2024</vt:lpstr>
      <vt:lpstr>Moving Birth Equity to Sustainability</vt:lpstr>
      <vt:lpstr>BE Discussion</vt:lpstr>
      <vt:lpstr>PowerPoint Presentation</vt:lpstr>
      <vt:lpstr>Upcoming BE Calls</vt:lpstr>
      <vt:lpstr>Equity and Safe Sleep in Infants (ESSI):</vt:lpstr>
      <vt:lpstr>Building on the Birth Equity Initiative</vt:lpstr>
      <vt:lpstr>Putting it Together</vt:lpstr>
      <vt:lpstr>ESSI Initiative Aims</vt:lpstr>
      <vt:lpstr>Key Driver Diagram</vt:lpstr>
      <vt:lpstr>PowerPoint Presentation</vt:lpstr>
      <vt:lpstr>PowerPoint Presentation</vt:lpstr>
      <vt:lpstr>St. Francis Network: ESSI Teams Signup</vt:lpstr>
      <vt:lpstr>ESSI Launch Award Criteria</vt:lpstr>
      <vt:lpstr>Upcoming ESSI Calls (3rd Monday, Monthly)</vt:lpstr>
      <vt:lpstr>Promoting Vaginal Birth (PVB):</vt:lpstr>
      <vt:lpstr>PowerPoint Presentation</vt:lpstr>
      <vt:lpstr>NTSV C-Section Rate</vt:lpstr>
      <vt:lpstr>Crossing the Finish Line with PVB in 2024</vt:lpstr>
      <vt:lpstr>Components of PVB Sustainability </vt:lpstr>
      <vt:lpstr>PVB Teams moving to sustainability in 2024</vt:lpstr>
      <vt:lpstr>PVB teams continuing to work towards NTSV C-section goals in 2024</vt:lpstr>
      <vt:lpstr>St. Francis Network Assignments</vt:lpstr>
      <vt:lpstr>Upcoming PVB Calls</vt:lpstr>
      <vt:lpstr>Thank you for your dedication to making Illinois the best place to give birth and be bor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dd Hilgert</dc:creator>
  <cp:lastModifiedBy>Eileen Fleming Suse</cp:lastModifiedBy>
  <cp:revision>5</cp:revision>
  <dcterms:created xsi:type="dcterms:W3CDTF">2021-06-14T14:42:26Z</dcterms:created>
  <dcterms:modified xsi:type="dcterms:W3CDTF">2024-03-13T18:1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6-14T00:00:00Z</vt:filetime>
  </property>
  <property fmtid="{D5CDD505-2E9C-101B-9397-08002B2CF9AE}" pid="3" name="Creator">
    <vt:lpwstr>Acrobat PDFMaker 21 for PowerPoint</vt:lpwstr>
  </property>
  <property fmtid="{D5CDD505-2E9C-101B-9397-08002B2CF9AE}" pid="4" name="LastSaved">
    <vt:filetime>2021-06-14T00:00:00Z</vt:filetime>
  </property>
  <property fmtid="{D5CDD505-2E9C-101B-9397-08002B2CF9AE}" pid="5" name="ContentTypeId">
    <vt:lpwstr>0x010100D07F919F35396C46BCC99A41B61FF6C4</vt:lpwstr>
  </property>
</Properties>
</file>